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5"/>
  </p:notesMasterIdLst>
  <p:sldIdLst>
    <p:sldId id="288" r:id="rId2"/>
    <p:sldId id="289" r:id="rId3"/>
    <p:sldId id="290" r:id="rId4"/>
    <p:sldId id="291" r:id="rId5"/>
    <p:sldId id="292" r:id="rId6"/>
    <p:sldId id="293" r:id="rId7"/>
    <p:sldId id="294" r:id="rId8"/>
    <p:sldId id="295" r:id="rId9"/>
    <p:sldId id="296" r:id="rId10"/>
    <p:sldId id="297" r:id="rId11"/>
    <p:sldId id="298" r:id="rId12"/>
    <p:sldId id="299" r:id="rId13"/>
    <p:sldId id="300" r:id="rId14"/>
    <p:sldId id="301" r:id="rId15"/>
    <p:sldId id="302" r:id="rId16"/>
    <p:sldId id="303" r:id="rId17"/>
    <p:sldId id="304" r:id="rId18"/>
    <p:sldId id="305" r:id="rId19"/>
    <p:sldId id="306" r:id="rId20"/>
    <p:sldId id="307" r:id="rId21"/>
    <p:sldId id="308" r:id="rId22"/>
    <p:sldId id="309" r:id="rId23"/>
    <p:sldId id="310" r:id="rId2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>
        <p:scale>
          <a:sx n="90" d="100"/>
          <a:sy n="90" d="100"/>
        </p:scale>
        <p:origin x="-2984" y="-11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printerSettings" Target="printerSettings/printerSettings1.bin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E8F68E-B0F4-4A5C-A2E0-C774B80E0B6F}" type="datetimeFigureOut">
              <a:rPr lang="en-GB" smtClean="0"/>
              <a:pPr/>
              <a:t>28/09/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98550E-3FF3-49AD-B79D-C4643EDBF38C}" type="slidenum">
              <a:rPr lang="en-GB" smtClean="0"/>
              <a:pPr/>
              <a:t>‹n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457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228600" y="381000"/>
            <a:ext cx="8686800" cy="5638800"/>
          </a:xfrm>
          <a:prstGeom prst="roundRect">
            <a:avLst>
              <a:gd name="adj" fmla="val 7912"/>
            </a:avLst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CCCC99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400" smtClean="0">
              <a:solidFill>
                <a:srgbClr val="000000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white">
          <a:xfrm>
            <a:off x="327025" y="488950"/>
            <a:ext cx="8435975" cy="4768850"/>
          </a:xfrm>
          <a:prstGeom prst="roundRect">
            <a:avLst>
              <a:gd name="adj" fmla="val 731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CCCC99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400" smtClean="0">
              <a:solidFill>
                <a:srgbClr val="000000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blackWhite">
          <a:xfrm>
            <a:off x="1371600" y="3338513"/>
            <a:ext cx="6400800" cy="2286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50800">
            <a:solidFill>
              <a:schemeClr val="bg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85800" y="857250"/>
            <a:ext cx="7772400" cy="2266950"/>
          </a:xfrm>
        </p:spPr>
        <p:txBody>
          <a:bodyPr anchor="ctr" anchorCtr="1"/>
          <a:lstStyle>
            <a:lvl1pPr algn="ctr">
              <a:defRPr sz="4100" i="1"/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752600" y="3567113"/>
            <a:ext cx="5410200" cy="1905000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sz="3300"/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3352800" y="6391275"/>
            <a:ext cx="28956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58000" y="6391275"/>
            <a:ext cx="16002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8D26AF4-4F6A-419A-A427-5A6C0FC795D8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933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932FD-5821-4219-BD1E-632203A2A604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680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34150" y="533400"/>
            <a:ext cx="1924050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533400"/>
            <a:ext cx="5619750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5AEB91-8F3C-4A90-924B-AA0055BE9752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049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484BAB-8B10-4779-883B-8623F45203CF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818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98FA7-DA12-4DFF-AB73-0389DE7897A4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230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905000"/>
            <a:ext cx="37719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905000"/>
            <a:ext cx="37719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31A075-32FA-4936-8929-00DAAF646C72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702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E24A6-54F0-486A-B525-DE69E8EAB9B4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61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F7F519-7DC0-402F-A5AF-DAF5519FB47B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961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0C066A-FAE9-49EA-BD19-361A862D7B8F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339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6A60E0-93FB-4F41-B326-3D9D61A41639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677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5872E-6B85-4F50-AF24-02629A2A0FEC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24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0" y="533400"/>
            <a:ext cx="7696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905000"/>
            <a:ext cx="7696200" cy="403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2000" y="6391275"/>
            <a:ext cx="2057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52800" y="6403975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en-GB" alt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0800"/>
            <a:ext cx="1600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latin typeface="Arial" pitchFamily="34" charset="0"/>
              </a:defRPr>
            </a:lvl1pPr>
          </a:lstStyle>
          <a:p>
            <a:pPr>
              <a:defRPr/>
            </a:pPr>
            <a:fld id="{7D3A7B6D-1037-4189-9FED-022FB39F0285}" type="slidenum">
              <a:rPr lang="en-GB" altLang="en-US">
                <a:solidFill>
                  <a:srgbClr val="000000"/>
                </a:solidFill>
                <a:cs typeface="+mn-cs"/>
              </a:rPr>
              <a:pPr>
                <a:defRPr/>
              </a:pPr>
              <a:t>‹n.›</a:t>
            </a:fld>
            <a:endParaRPr lang="en-GB" altLang="en-US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168275" y="228600"/>
            <a:ext cx="8823325" cy="6096000"/>
            <a:chOff x="106" y="144"/>
            <a:chExt cx="5558" cy="3840"/>
          </a:xfrm>
        </p:grpSpPr>
        <p:sp>
          <p:nvSpPr>
            <p:cNvPr id="1032" name="AutoShape 8"/>
            <p:cNvSpPr>
              <a:spLocks noChangeArrowheads="1"/>
            </p:cNvSpPr>
            <p:nvPr/>
          </p:nvSpPr>
          <p:spPr bwMode="auto">
            <a:xfrm>
              <a:off x="106" y="144"/>
              <a:ext cx="5558" cy="3840"/>
            </a:xfrm>
            <a:prstGeom prst="roundRect">
              <a:avLst>
                <a:gd name="adj" fmla="val 11046"/>
              </a:avLst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altLang="en-US" sz="2400" smtClean="0">
                <a:solidFill>
                  <a:srgbClr val="000000"/>
                </a:solidFill>
                <a:latin typeface="Times New Roman" pitchFamily="18" charset="0"/>
                <a:cs typeface="+mn-cs"/>
              </a:endParaRPr>
            </a:p>
          </p:txBody>
        </p:sp>
        <p:sp>
          <p:nvSpPr>
            <p:cNvPr id="1033" name="Line 9"/>
            <p:cNvSpPr>
              <a:spLocks noChangeShapeType="1"/>
            </p:cNvSpPr>
            <p:nvPr/>
          </p:nvSpPr>
          <p:spPr bwMode="auto">
            <a:xfrm>
              <a:off x="480" y="1077"/>
              <a:ext cx="4848" cy="0"/>
            </a:xfrm>
            <a:prstGeom prst="line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935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0000"/>
        <a:buFont typeface="Wingdings" pitchFamily="2" charset="2"/>
        <a:buChar char="l"/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50000"/>
        <a:buChar char="•"/>
        <a:defRPr sz="2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w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w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3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51275" y="3573463"/>
            <a:ext cx="3457575" cy="1871662"/>
          </a:xfrm>
        </p:spPr>
        <p:txBody>
          <a:bodyPr/>
          <a:lstStyle/>
          <a:p>
            <a:pPr eaLnBrk="1" hangingPunct="1"/>
            <a:r>
              <a:rPr lang="en-GB" altLang="en-US" i="0" smtClean="0">
                <a:solidFill>
                  <a:srgbClr val="6371F3"/>
                </a:solidFill>
              </a:rPr>
              <a:t>IUMI </a:t>
            </a:r>
            <a:r>
              <a:rPr lang="en-GB" altLang="en-US" sz="2500" i="0" smtClean="0">
                <a:solidFill>
                  <a:srgbClr val="6371F3"/>
                </a:solidFill>
              </a:rPr>
              <a:t>2014</a:t>
            </a:r>
            <a:br>
              <a:rPr lang="en-GB" altLang="en-US" sz="2500" i="0" smtClean="0">
                <a:solidFill>
                  <a:srgbClr val="6371F3"/>
                </a:solidFill>
              </a:rPr>
            </a:br>
            <a:r>
              <a:rPr lang="en-GB" altLang="en-US" sz="2900" i="0" smtClean="0">
                <a:solidFill>
                  <a:srgbClr val="6371F3"/>
                </a:solidFill>
              </a:rPr>
              <a:t>Hong Kong</a:t>
            </a:r>
          </a:p>
        </p:txBody>
      </p:sp>
      <p:pic>
        <p:nvPicPr>
          <p:cNvPr id="3075" name="Picture 5" descr="IMCC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092825"/>
            <a:ext cx="16192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7" descr="IUMI web banner 191x113px-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3860800"/>
            <a:ext cx="2232025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ext Box 10"/>
          <p:cNvSpPr txBox="1">
            <a:spLocks noChangeArrowheads="1"/>
          </p:cNvSpPr>
          <p:nvPr/>
        </p:nvSpPr>
        <p:spPr bwMode="auto">
          <a:xfrm>
            <a:off x="4427538" y="2492375"/>
            <a:ext cx="32416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2400" smtClean="0">
                <a:solidFill>
                  <a:srgbClr val="336666"/>
                </a:solidFill>
                <a:latin typeface="Arial Black" pitchFamily="34" charset="0"/>
                <a:cs typeface="+mn-cs"/>
              </a:rPr>
              <a:t>A Short Overview</a:t>
            </a:r>
          </a:p>
        </p:txBody>
      </p:sp>
      <p:sp>
        <p:nvSpPr>
          <p:cNvPr id="3078" name="Text Box 13"/>
          <p:cNvSpPr txBox="1">
            <a:spLocks noChangeArrowheads="1"/>
          </p:cNvSpPr>
          <p:nvPr/>
        </p:nvSpPr>
        <p:spPr bwMode="auto">
          <a:xfrm>
            <a:off x="684213" y="836613"/>
            <a:ext cx="74168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3200" b="1" smtClean="0">
                <a:solidFill>
                  <a:srgbClr val="336666"/>
                </a:solidFill>
                <a:latin typeface="AvantGarde Md BT" pitchFamily="34" charset="0"/>
                <a:cs typeface="+mn-cs"/>
              </a:rPr>
              <a:t>Building Expertise for a Changing World</a:t>
            </a:r>
          </a:p>
        </p:txBody>
      </p:sp>
      <p:sp>
        <p:nvSpPr>
          <p:cNvPr id="3079" name="Text Box 14"/>
          <p:cNvSpPr txBox="1">
            <a:spLocks noChangeArrowheads="1"/>
          </p:cNvSpPr>
          <p:nvPr/>
        </p:nvSpPr>
        <p:spPr bwMode="auto">
          <a:xfrm>
            <a:off x="3492500" y="6165850"/>
            <a:ext cx="50403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2000" b="1" smtClean="0">
                <a:solidFill>
                  <a:srgbClr val="336666"/>
                </a:solidFill>
                <a:cs typeface="+mn-cs"/>
              </a:rPr>
              <a:t>Massimo Canepa – IMCC liaison at IUMI</a:t>
            </a:r>
          </a:p>
        </p:txBody>
      </p:sp>
    </p:spTree>
    <p:extLst>
      <p:ext uri="{BB962C8B-B14F-4D97-AF65-F5344CB8AC3E}">
        <p14:creationId xmlns:p14="http://schemas.microsoft.com/office/powerpoint/2010/main" val="160412792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z="3200" smtClean="0"/>
              <a:t>Marine Premium 2013</a:t>
            </a:r>
            <a:r>
              <a:rPr lang="nn-NO" altLang="en-US" sz="3200" b="1" smtClean="0">
                <a:solidFill>
                  <a:srgbClr val="115964"/>
                </a:solidFill>
              </a:rPr>
              <a:t> </a:t>
            </a:r>
            <a:r>
              <a:rPr lang="nn-NO" altLang="en-US" sz="1600" b="1" smtClean="0">
                <a:solidFill>
                  <a:srgbClr val="115964"/>
                </a:solidFill>
              </a:rPr>
              <a:t>- by line of business</a:t>
            </a:r>
            <a:endParaRPr lang="en-GB" altLang="en-US" sz="1600" b="1" smtClean="0">
              <a:solidFill>
                <a:srgbClr val="115964"/>
              </a:solidFill>
            </a:endParaRPr>
          </a:p>
        </p:txBody>
      </p:sp>
      <p:pic>
        <p:nvPicPr>
          <p:cNvPr id="1229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916113"/>
            <a:ext cx="7775575" cy="4321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8"/>
          <p:cNvSpPr txBox="1">
            <a:spLocks noChangeArrowheads="1"/>
          </p:cNvSpPr>
          <p:nvPr/>
        </p:nvSpPr>
        <p:spPr bwMode="auto">
          <a:xfrm>
            <a:off x="6084888" y="1916113"/>
            <a:ext cx="2711450" cy="1371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sz="2400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>Total: 34.2 USD billion </a:t>
            </a:r>
            <a: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/>
            </a:r>
            <a:b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</a:br>
            <a: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>Change 2012 to 2013:  -1.7%</a:t>
            </a:r>
            <a:endParaRPr lang="nn-NO" dirty="0">
              <a:solidFill>
                <a:srgbClr val="CCCC99">
                  <a:lumMod val="25000"/>
                </a:srgbClr>
              </a:solidFill>
              <a:latin typeface="Arial Black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4311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z="2800" smtClean="0"/>
              <a:t> Marine Premium 2013 </a:t>
            </a:r>
            <a:r>
              <a:rPr lang="nb-NO" altLang="en-US" sz="1400" b="1" smtClean="0"/>
              <a:t>– by region </a:t>
            </a:r>
            <a:endParaRPr lang="en-GB" altLang="en-US" sz="1400" b="1" smtClean="0"/>
          </a:p>
        </p:txBody>
      </p:sp>
      <p:pic>
        <p:nvPicPr>
          <p:cNvPr id="13315" name="Bild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90"/>
          <a:stretch>
            <a:fillRect/>
          </a:stretch>
        </p:blipFill>
        <p:spPr bwMode="auto">
          <a:xfrm>
            <a:off x="539750" y="1844675"/>
            <a:ext cx="7993063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8"/>
          <p:cNvSpPr txBox="1">
            <a:spLocks noChangeArrowheads="1"/>
          </p:cNvSpPr>
          <p:nvPr/>
        </p:nvSpPr>
        <p:spPr bwMode="auto">
          <a:xfrm>
            <a:off x="5076056" y="5388567"/>
            <a:ext cx="3836293" cy="110799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sz="2400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>Total: 34.2 USD billion </a:t>
            </a:r>
            <a: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/>
            </a:r>
            <a:b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</a:br>
            <a: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Arial" panose="020B0604020202020204" pitchFamily="34" charset="0"/>
              </a:rPr>
              <a:t>Change 2012 to 2013:  -1.7%</a:t>
            </a:r>
            <a:endParaRPr lang="nn-NO" dirty="0">
              <a:solidFill>
                <a:srgbClr val="CCCC99">
                  <a:lumMod val="25000"/>
                </a:srgbClr>
              </a:solidFill>
              <a:latin typeface="Arial Black"/>
              <a:cs typeface="Arial" panose="020B0604020202020204" pitchFamily="34" charset="0"/>
            </a:endParaRPr>
          </a:p>
        </p:txBody>
      </p:sp>
      <p:sp>
        <p:nvSpPr>
          <p:cNvPr id="13317" name="Rectangle 2"/>
          <p:cNvSpPr txBox="1">
            <a:spLocks/>
          </p:cNvSpPr>
          <p:nvPr/>
        </p:nvSpPr>
        <p:spPr bwMode="auto">
          <a:xfrm>
            <a:off x="3635375" y="1916113"/>
            <a:ext cx="1873250" cy="774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bIns="0" anchor="b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 smtClean="0">
              <a:solidFill>
                <a:srgbClr val="336666"/>
              </a:solidFill>
              <a:latin typeface="Calibri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19785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Bild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5538"/>
            <a:ext cx="9124950" cy="555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9" name="Title 1"/>
          <p:cNvSpPr>
            <a:spLocks/>
          </p:cNvSpPr>
          <p:nvPr/>
        </p:nvSpPr>
        <p:spPr bwMode="auto">
          <a:xfrm>
            <a:off x="107950" y="188913"/>
            <a:ext cx="8893175" cy="9366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nb-NO" altLang="en-US" sz="2800" smtClean="0">
                <a:solidFill>
                  <a:srgbClr val="336666"/>
                </a:solidFill>
                <a:latin typeface="Arial Black" pitchFamily="34" charset="0"/>
                <a:cs typeface="+mn-cs"/>
              </a:rPr>
              <a:t>    Marine premium 2008-2013</a:t>
            </a:r>
            <a:r>
              <a:rPr lang="nb-NO" altLang="en-US" sz="1400" smtClean="0">
                <a:solidFill>
                  <a:srgbClr val="336666"/>
                </a:solidFill>
                <a:latin typeface="Arial Black" pitchFamily="34" charset="0"/>
                <a:cs typeface="+mn-cs"/>
              </a:rPr>
              <a:t> – </a:t>
            </a:r>
            <a:r>
              <a:rPr lang="nb-NO" altLang="en-US" sz="1400" b="1" smtClean="0">
                <a:solidFill>
                  <a:srgbClr val="336666"/>
                </a:solidFill>
                <a:latin typeface="Arial Black" pitchFamily="34" charset="0"/>
                <a:cs typeface="+mn-cs"/>
              </a:rPr>
              <a:t>as of 201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88224" y="1792288"/>
            <a:ext cx="2366610" cy="5847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2012-&gt;2013: - 1.7%</a:t>
            </a:r>
            <a:b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</a:b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no premium growth</a:t>
            </a:r>
          </a:p>
        </p:txBody>
      </p:sp>
      <p:grpSp>
        <p:nvGrpSpPr>
          <p:cNvPr id="21" name="Group 20"/>
          <p:cNvGrpSpPr>
            <a:grpSpLocks/>
          </p:cNvGrpSpPr>
          <p:nvPr/>
        </p:nvGrpSpPr>
        <p:grpSpPr bwMode="auto">
          <a:xfrm>
            <a:off x="1763713" y="1700213"/>
            <a:ext cx="5405437" cy="4097337"/>
            <a:chOff x="1688100" y="1923314"/>
            <a:chExt cx="5404180" cy="4097974"/>
          </a:xfrm>
        </p:grpSpPr>
        <p:sp>
          <p:nvSpPr>
            <p:cNvPr id="8" name="TextBox 7"/>
            <p:cNvSpPr txBox="1"/>
            <p:nvPr/>
          </p:nvSpPr>
          <p:spPr>
            <a:xfrm>
              <a:off x="3862469" y="1923314"/>
              <a:ext cx="1141147" cy="64145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b="1" dirty="0">
                  <a:solidFill>
                    <a:srgbClr val="336666"/>
                  </a:solidFill>
                  <a:latin typeface="Arial Black"/>
                  <a:cs typeface="+mn-cs"/>
                </a:rPr>
                <a:t>UK-IU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b="1" dirty="0">
                  <a:solidFill>
                    <a:srgbClr val="336666"/>
                  </a:solidFill>
                  <a:latin typeface="Arial Black"/>
                  <a:cs typeface="+mn-cs"/>
                </a:rPr>
                <a:t>adjusted</a:t>
              </a:r>
            </a:p>
          </p:txBody>
        </p:sp>
        <p:cxnSp>
          <p:nvCxnSpPr>
            <p:cNvPr id="9" name="Straight Arrow Connector 8"/>
            <p:cNvCxnSpPr/>
            <p:nvPr/>
          </p:nvCxnSpPr>
          <p:spPr>
            <a:xfrm>
              <a:off x="4787766" y="2204345"/>
              <a:ext cx="431700" cy="69861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2843531" y="4162037"/>
              <a:ext cx="791978" cy="24610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688100" y="3468191"/>
              <a:ext cx="4248749" cy="64145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b="1" dirty="0">
                  <a:solidFill>
                    <a:srgbClr val="336666"/>
                  </a:solidFill>
                  <a:latin typeface="Arial Black"/>
                  <a:cs typeface="+mn-cs"/>
                </a:rPr>
                <a:t>2008: Chin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b="1" dirty="0">
                  <a:solidFill>
                    <a:srgbClr val="336666"/>
                  </a:solidFill>
                  <a:latin typeface="Arial Black"/>
                  <a:cs typeface="+mn-cs"/>
                </a:rPr>
                <a:t>         2010: non-IUMI Asia</a:t>
              </a:r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>
              <a:off x="2122974" y="4162037"/>
              <a:ext cx="0" cy="490613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H="1">
              <a:off x="3862469" y="5348083"/>
              <a:ext cx="250767" cy="379472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2483252" y="5000367"/>
              <a:ext cx="4609028" cy="36676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b="1" dirty="0">
                  <a:solidFill>
                    <a:srgbClr val="336666"/>
                  </a:solidFill>
                  <a:latin typeface="Arial Black"/>
                  <a:cs typeface="+mn-cs"/>
                </a:rPr>
                <a:t>Latin America, Middle East, Africa  complete</a:t>
              </a: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>
              <a:off x="3862469" y="5348083"/>
              <a:ext cx="501533" cy="673205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3792538" y="1784350"/>
            <a:ext cx="1793875" cy="4524375"/>
            <a:chOff x="3779912" y="1945102"/>
            <a:chExt cx="1794496" cy="4364218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3779912" y="1952759"/>
              <a:ext cx="0" cy="4356561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5574408" y="1945102"/>
              <a:ext cx="0" cy="4356562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5"/>
          <p:cNvSpPr txBox="1"/>
          <p:nvPr/>
        </p:nvSpPr>
        <p:spPr>
          <a:xfrm>
            <a:off x="6623465" y="5279600"/>
            <a:ext cx="2384769" cy="107721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Global </a:t>
            </a:r>
            <a:r>
              <a:rPr lang="nb-NO" sz="1600" b="1" dirty="0" err="1">
                <a:solidFill>
                  <a:srgbClr val="336666"/>
                </a:solidFill>
                <a:latin typeface="Arial Black"/>
                <a:cs typeface="+mn-cs"/>
              </a:rPr>
              <a:t>premium</a:t>
            </a: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: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2012: 34.8 </a:t>
            </a:r>
            <a:r>
              <a:rPr lang="nb-NO" sz="1600" b="1" dirty="0" smtClean="0">
                <a:solidFill>
                  <a:srgbClr val="336666"/>
                </a:solidFill>
                <a:latin typeface="Arial Black"/>
                <a:cs typeface="+mn-cs"/>
              </a:rPr>
              <a:t>USD </a:t>
            </a: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bill.</a:t>
            </a:r>
            <a:b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</a:b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2013: 34.2 USD </a:t>
            </a:r>
            <a:r>
              <a:rPr lang="nb-NO" sz="1600" b="1" dirty="0" err="1">
                <a:solidFill>
                  <a:srgbClr val="336666"/>
                </a:solidFill>
                <a:latin typeface="Arial Black"/>
                <a:cs typeface="+mn-cs"/>
              </a:rPr>
              <a:t>bill</a:t>
            </a: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. </a:t>
            </a:r>
            <a:b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</a:b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(</a:t>
            </a:r>
            <a:r>
              <a:rPr lang="nb-NO" sz="1600" b="1" dirty="0" err="1">
                <a:solidFill>
                  <a:srgbClr val="336666"/>
                </a:solidFill>
                <a:latin typeface="Arial Black"/>
                <a:cs typeface="+mn-cs"/>
              </a:rPr>
              <a:t>both</a:t>
            </a: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 as </a:t>
            </a:r>
            <a:r>
              <a:rPr lang="nb-NO" sz="1600" b="1" dirty="0" err="1">
                <a:solidFill>
                  <a:srgbClr val="336666"/>
                </a:solidFill>
                <a:latin typeface="Arial Black"/>
                <a:cs typeface="+mn-cs"/>
              </a:rPr>
              <a:t>of</a:t>
            </a:r>
            <a:r>
              <a:rPr lang="nb-NO" sz="1600" b="1" dirty="0">
                <a:solidFill>
                  <a:srgbClr val="336666"/>
                </a:solidFill>
                <a:latin typeface="Arial Black"/>
                <a:cs typeface="+mn-cs"/>
              </a:rPr>
              <a:t> 2014)</a:t>
            </a:r>
          </a:p>
        </p:txBody>
      </p:sp>
    </p:spTree>
    <p:extLst>
      <p:ext uri="{BB962C8B-B14F-4D97-AF65-F5344CB8AC3E}">
        <p14:creationId xmlns:p14="http://schemas.microsoft.com/office/powerpoint/2010/main" val="210026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nb-NO" altLang="en-US" smtClean="0"/>
              <a:t>Hull Premium 2013 </a:t>
            </a:r>
            <a:r>
              <a:rPr lang="nb-NO" altLang="en-US" b="1" smtClean="0"/>
              <a:t>– by region</a:t>
            </a:r>
            <a:endParaRPr lang="en-GB" altLang="en-US" b="1" smtClean="0"/>
          </a:p>
        </p:txBody>
      </p:sp>
      <p:pic>
        <p:nvPicPr>
          <p:cNvPr id="1536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"/>
          <a:stretch>
            <a:fillRect/>
          </a:stretch>
        </p:blipFill>
        <p:spPr bwMode="auto">
          <a:xfrm>
            <a:off x="755650" y="1844675"/>
            <a:ext cx="7769225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extBox 8"/>
          <p:cNvSpPr txBox="1">
            <a:spLocks noChangeArrowheads="1"/>
          </p:cNvSpPr>
          <p:nvPr/>
        </p:nvSpPr>
        <p:spPr bwMode="auto">
          <a:xfrm>
            <a:off x="5651500" y="333375"/>
            <a:ext cx="2986088" cy="7318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n-NO" altLang="en-US" sz="2400" b="1" smtClean="0">
                <a:solidFill>
                  <a:srgbClr val="336666"/>
                </a:solidFill>
                <a:latin typeface="Calibri" pitchFamily="34" charset="0"/>
                <a:cs typeface="+mn-cs"/>
              </a:rPr>
              <a:t>Total: 8.53 USD billion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n-NO" altLang="en-US" sz="1800" b="1" smtClean="0">
                <a:solidFill>
                  <a:srgbClr val="336666"/>
                </a:solidFill>
                <a:latin typeface="Calibri" pitchFamily="34" charset="0"/>
                <a:cs typeface="+mn-cs"/>
              </a:rPr>
              <a:t>Change 2012 to 2013: -0.8%</a:t>
            </a:r>
          </a:p>
        </p:txBody>
      </p:sp>
    </p:spTree>
    <p:extLst>
      <p:ext uri="{BB962C8B-B14F-4D97-AF65-F5344CB8AC3E}">
        <p14:creationId xmlns:p14="http://schemas.microsoft.com/office/powerpoint/2010/main" val="17268695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755650" y="404813"/>
            <a:ext cx="7696200" cy="1143000"/>
          </a:xfrm>
        </p:spPr>
        <p:txBody>
          <a:bodyPr/>
          <a:lstStyle/>
          <a:p>
            <a:pPr eaLnBrk="1" hangingPunct="1"/>
            <a:r>
              <a:rPr lang="en-GB" altLang="en-US" sz="2900" smtClean="0">
                <a:solidFill>
                  <a:srgbClr val="06686D"/>
                </a:solidFill>
              </a:rPr>
              <a:t>Hull – Gross*  Ultimate Loss Ratio </a:t>
            </a:r>
            <a:br>
              <a:rPr lang="en-GB" altLang="en-US" sz="2900" smtClean="0">
                <a:solidFill>
                  <a:srgbClr val="06686D"/>
                </a:solidFill>
              </a:rPr>
            </a:br>
            <a:r>
              <a:rPr lang="en-GB" altLang="en-US" sz="2000" smtClean="0">
                <a:solidFill>
                  <a:srgbClr val="06686D"/>
                </a:solidFill>
              </a:rPr>
              <a:t>Europe/USA**, Underwriting  years 1996 to 2013</a:t>
            </a:r>
            <a:r>
              <a:rPr lang="en-GB" altLang="en-US" sz="2900" smtClean="0">
                <a:solidFill>
                  <a:srgbClr val="06686D"/>
                </a:solidFill>
              </a:rPr>
              <a:t> </a:t>
            </a:r>
          </a:p>
        </p:txBody>
      </p:sp>
      <p:pic>
        <p:nvPicPr>
          <p:cNvPr id="16387" name="Picture 2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1785938"/>
            <a:ext cx="8207375" cy="4314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1510" name="Text Box 4"/>
          <p:cNvSpPr txBox="1">
            <a:spLocks noChangeArrowheads="1"/>
          </p:cNvSpPr>
          <p:nvPr/>
        </p:nvSpPr>
        <p:spPr bwMode="auto">
          <a:xfrm>
            <a:off x="7016751" y="1773238"/>
            <a:ext cx="2127250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b-NO" altLang="en-US" sz="1100" b="1" u="sng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  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b-NO" altLang="en-US" sz="1600" b="1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2011</a:t>
            </a:r>
            <a:r>
              <a:rPr lang="nb-NO" altLang="en-US" sz="1600" b="1" u="sng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/>
            </a:r>
            <a:br>
              <a:rPr lang="nb-NO" altLang="en-US" sz="1600" b="1" u="sng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</a:b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Strong impact major losses </a:t>
            </a:r>
            <a:b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</a:b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(Costa Concordia &amp; others)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nb-NO" altLang="en-US" sz="1600" b="1" u="sng" dirty="0" smtClean="0">
              <a:solidFill>
                <a:srgbClr val="004E6D"/>
              </a:solidFill>
              <a:latin typeface="Calibri" pitchFamily="34" charset="0"/>
              <a:cs typeface="+mn-cs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b-NO" altLang="en-US" sz="1600" b="1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2012/2013</a:t>
            </a:r>
            <a:r>
              <a:rPr lang="nb-NO" altLang="en-US" sz="1600" b="1" u="sng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/>
            </a:r>
            <a:br>
              <a:rPr lang="nb-NO" altLang="en-US" sz="1600" b="1" u="sng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</a:b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Less major loss impact as in 2011.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/>
            </a:r>
            <a:b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</a:br>
            <a:r>
              <a:rPr lang="nb-NO" altLang="en-US" sz="1600" b="1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2013</a:t>
            </a: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/>
            </a:r>
            <a:b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</a:br>
            <a:r>
              <a:rPr lang="nb-NO" altLang="en-US" sz="1600" dirty="0" smtClean="0">
                <a:solidFill>
                  <a:srgbClr val="004E6D"/>
                </a:solidFill>
                <a:latin typeface="Calibri" pitchFamily="34" charset="0"/>
                <a:cs typeface="+mn-cs"/>
              </a:rPr>
              <a:t>Improvement, but technical result still at loss (18th year)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508105" y="1804988"/>
            <a:ext cx="1351484" cy="831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600" dirty="0">
                <a:solidFill>
                  <a:srgbClr val="FF0000"/>
                </a:solidFill>
                <a:latin typeface="Arial Black"/>
                <a:cs typeface="+mn-cs"/>
              </a:rPr>
              <a:t>Costa Concordia peak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6156325" y="2636838"/>
            <a:ext cx="0" cy="50165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1258888" y="3573463"/>
            <a:ext cx="5757862" cy="287337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nn-NO" altLang="en-US" sz="18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16392" name="Rectangle 9"/>
          <p:cNvSpPr>
            <a:spLocks noChangeArrowheads="1"/>
          </p:cNvSpPr>
          <p:nvPr/>
        </p:nvSpPr>
        <p:spPr bwMode="auto">
          <a:xfrm>
            <a:off x="755650" y="5956300"/>
            <a:ext cx="78486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b="1" smtClean="0">
                <a:solidFill>
                  <a:srgbClr val="06686D"/>
                </a:solidFill>
                <a:cs typeface="+mn-cs"/>
              </a:rPr>
              <a:t>Technical break even: gross loss ratio not exceeding  100% minus the expense ratio (\</a:t>
            </a:r>
            <a:r>
              <a:rPr lang="nb-NO" altLang="en-US" b="1" smtClean="0">
                <a:solidFill>
                  <a:srgbClr val="06686D"/>
                </a:solidFill>
                <a:cs typeface="+mn-cs"/>
              </a:rPr>
              <a:t>2</a:t>
            </a:r>
            <a:r>
              <a:rPr lang="en-GB" altLang="en-US" b="1" smtClean="0">
                <a:solidFill>
                  <a:srgbClr val="06686D"/>
                </a:solidFill>
                <a:cs typeface="+mn-cs"/>
              </a:rPr>
              <a:t>0%-30% acquisition</a:t>
            </a:r>
            <a:r>
              <a:rPr lang="nb-NO" altLang="en-US" b="1" smtClean="0">
                <a:solidFill>
                  <a:srgbClr val="06686D"/>
                </a:solidFill>
                <a:cs typeface="+mn-cs"/>
              </a:rPr>
              <a:t> cost, capital cost,</a:t>
            </a:r>
            <a:r>
              <a:rPr lang="en-GB" altLang="en-US" b="1" smtClean="0">
                <a:solidFill>
                  <a:srgbClr val="06686D"/>
                </a:solidFill>
                <a:cs typeface="+mn-cs"/>
              </a:rPr>
              <a:t> management)</a:t>
            </a:r>
          </a:p>
        </p:txBody>
      </p:sp>
    </p:spTree>
    <p:extLst>
      <p:ext uri="{BB962C8B-B14F-4D97-AF65-F5344CB8AC3E}">
        <p14:creationId xmlns:p14="http://schemas.microsoft.com/office/powerpoint/2010/main" val="5655270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mtClean="0"/>
              <a:t>Hull </a:t>
            </a:r>
            <a:r>
              <a:rPr lang="nb-NO" altLang="en-US" b="1" smtClean="0"/>
              <a:t>claims</a:t>
            </a:r>
            <a:r>
              <a:rPr lang="nb-NO" altLang="en-US" smtClean="0"/>
              <a:t> trends</a:t>
            </a:r>
            <a:endParaRPr lang="en-GB" altLang="en-US" smtClean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nn-NO" altLang="en-US" sz="2400" b="1" smtClean="0">
                <a:solidFill>
                  <a:srgbClr val="6C0812"/>
                </a:solidFill>
              </a:rPr>
              <a:t>Claim frequency</a:t>
            </a:r>
            <a:br>
              <a:rPr lang="nn-NO" altLang="en-US" sz="2400" b="1" smtClean="0">
                <a:solidFill>
                  <a:srgbClr val="6C0812"/>
                </a:solidFill>
              </a:rPr>
            </a:br>
            <a:r>
              <a:rPr lang="nn-NO" altLang="en-US" sz="2000" smtClean="0">
                <a:solidFill>
                  <a:srgbClr val="6C0812"/>
                </a:solidFill>
              </a:rPr>
              <a:t>Down after peak in 2008. </a:t>
            </a:r>
            <a:br>
              <a:rPr lang="nn-NO" altLang="en-US" sz="2000" smtClean="0">
                <a:solidFill>
                  <a:srgbClr val="6C0812"/>
                </a:solidFill>
              </a:rPr>
            </a:br>
            <a:r>
              <a:rPr lang="nn-NO" altLang="en-US" sz="2000" smtClean="0">
                <a:solidFill>
                  <a:srgbClr val="6C0812"/>
                </a:solidFill>
              </a:rPr>
              <a:t>Long-term positive to stable trend.</a:t>
            </a:r>
            <a:r>
              <a:rPr lang="nn-NO" altLang="en-US" sz="1500" smtClean="0">
                <a:solidFill>
                  <a:srgbClr val="6C0812"/>
                </a:solidFill>
              </a:rPr>
              <a:t>   </a:t>
            </a:r>
            <a:br>
              <a:rPr lang="nn-NO" altLang="en-US" sz="1500" smtClean="0">
                <a:solidFill>
                  <a:srgbClr val="6C0812"/>
                </a:solidFill>
              </a:rPr>
            </a:br>
            <a:endParaRPr lang="nn-NO" altLang="en-US" sz="15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nn-NO" altLang="en-US" sz="2400" b="1" smtClean="0">
                <a:solidFill>
                  <a:srgbClr val="6C0812"/>
                </a:solidFill>
              </a:rPr>
              <a:t>Total loss frequency</a:t>
            </a:r>
            <a:br>
              <a:rPr lang="nn-NO" altLang="en-US" sz="2400" b="1" smtClean="0">
                <a:solidFill>
                  <a:srgbClr val="6C0812"/>
                </a:solidFill>
              </a:rPr>
            </a:br>
            <a:r>
              <a:rPr lang="nn-NO" altLang="en-US" sz="2000" smtClean="0">
                <a:solidFill>
                  <a:srgbClr val="6C0812"/>
                </a:solidFill>
              </a:rPr>
              <a:t>Long-term positive trend.</a:t>
            </a:r>
            <a:br>
              <a:rPr lang="nn-NO" altLang="en-US" sz="2000" smtClean="0">
                <a:solidFill>
                  <a:srgbClr val="6C0812"/>
                </a:solidFill>
              </a:rPr>
            </a:br>
            <a:endParaRPr lang="nn-NO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nn-NO" altLang="en-US" sz="2400" b="1" smtClean="0">
                <a:solidFill>
                  <a:srgbClr val="6C0812"/>
                </a:solidFill>
              </a:rPr>
              <a:t>Repair cost</a:t>
            </a:r>
            <a:br>
              <a:rPr lang="nn-NO" altLang="en-US" sz="2400" b="1" smtClean="0">
                <a:solidFill>
                  <a:srgbClr val="6C0812"/>
                </a:solidFill>
              </a:rPr>
            </a:br>
            <a:r>
              <a:rPr lang="nn-NO" altLang="en-US" sz="2000" smtClean="0">
                <a:solidFill>
                  <a:srgbClr val="6C0812"/>
                </a:solidFill>
              </a:rPr>
              <a:t>Down after peak in 2008, stable to decreasing since.</a:t>
            </a:r>
            <a:br>
              <a:rPr lang="nn-NO" altLang="en-US" sz="2000" smtClean="0">
                <a:solidFill>
                  <a:srgbClr val="6C0812"/>
                </a:solidFill>
              </a:rPr>
            </a:br>
            <a:endParaRPr lang="nn-NO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nn-NO" altLang="en-US" sz="2400" b="1" smtClean="0">
                <a:solidFill>
                  <a:srgbClr val="6C0812"/>
                </a:solidFill>
              </a:rPr>
              <a:t>Major losses</a:t>
            </a:r>
            <a:br>
              <a:rPr lang="nn-NO" altLang="en-US" sz="2400" b="1" smtClean="0">
                <a:solidFill>
                  <a:srgbClr val="6C0812"/>
                </a:solidFill>
              </a:rPr>
            </a:br>
            <a:r>
              <a:rPr lang="nn-NO" altLang="en-US" sz="2000" smtClean="0">
                <a:solidFill>
                  <a:srgbClr val="6C0812"/>
                </a:solidFill>
              </a:rPr>
              <a:t>Strong impact on 2011 results and other years. First half year 2014: next to none.</a:t>
            </a:r>
            <a:r>
              <a:rPr lang="nn-NO" altLang="en-US" sz="1500" smtClean="0">
                <a:solidFill>
                  <a:srgbClr val="6C0812"/>
                </a:solidFill>
              </a:rPr>
              <a:t>     </a:t>
            </a:r>
            <a:r>
              <a:rPr lang="nn-NO" altLang="en-US" sz="3200" smtClean="0">
                <a:solidFill>
                  <a:srgbClr val="6C0812"/>
                </a:solidFill>
              </a:rPr>
              <a:t/>
            </a:r>
            <a:br>
              <a:rPr lang="nn-NO" altLang="en-US" sz="3200" smtClean="0">
                <a:solidFill>
                  <a:srgbClr val="6C0812"/>
                </a:solidFill>
              </a:rPr>
            </a:br>
            <a:endParaRPr lang="en-GB" altLang="en-US" sz="3200" smtClean="0">
              <a:solidFill>
                <a:srgbClr val="6C08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5948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mtClean="0"/>
              <a:t>Hull </a:t>
            </a:r>
            <a:r>
              <a:rPr lang="nb-NO" altLang="en-US" b="1" smtClean="0"/>
              <a:t>portfolio</a:t>
            </a:r>
            <a:r>
              <a:rPr lang="nb-NO" altLang="en-US" smtClean="0"/>
              <a:t> trends</a:t>
            </a:r>
            <a:endParaRPr lang="en-GB" altLang="en-US" smtClean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nn-NO" altLang="en-US" sz="2700" b="1" smtClean="0">
                <a:solidFill>
                  <a:srgbClr val="6C0812"/>
                </a:solidFill>
              </a:rPr>
              <a:t>World fleet</a:t>
            </a:r>
            <a:r>
              <a:rPr lang="nn-NO" altLang="en-US" sz="2700" smtClean="0">
                <a:solidFill>
                  <a:srgbClr val="6C0812"/>
                </a:solidFill>
              </a:rPr>
              <a:t>: continues to grow, especially tonnage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nn-NO" altLang="en-US" sz="2700" u="sng" smtClean="0">
                <a:solidFill>
                  <a:srgbClr val="6C0812"/>
                </a:solidFill>
              </a:rPr>
              <a:t>   </a:t>
            </a:r>
          </a:p>
          <a:p>
            <a:pPr eaLnBrk="1" hangingPunct="1">
              <a:lnSpc>
                <a:spcPct val="90000"/>
              </a:lnSpc>
            </a:pPr>
            <a:r>
              <a:rPr lang="nn-NO" altLang="en-US" sz="2700" b="1" smtClean="0">
                <a:solidFill>
                  <a:srgbClr val="6C0812"/>
                </a:solidFill>
              </a:rPr>
              <a:t>Insured values</a:t>
            </a:r>
            <a:r>
              <a:rPr lang="nn-NO" altLang="en-US" sz="2700" smtClean="0">
                <a:solidFill>
                  <a:srgbClr val="6C0812"/>
                </a:solidFill>
              </a:rPr>
              <a:t>: </a:t>
            </a:r>
          </a:p>
          <a:p>
            <a:pPr lvl="1" eaLnBrk="1" hangingPunct="1">
              <a:lnSpc>
                <a:spcPct val="90000"/>
              </a:lnSpc>
            </a:pPr>
            <a:r>
              <a:rPr lang="nn-NO" altLang="en-US" sz="2400" smtClean="0">
                <a:solidFill>
                  <a:srgbClr val="6C0812"/>
                </a:solidFill>
              </a:rPr>
              <a:t>Renewals: value reduction seems to normalize</a:t>
            </a:r>
          </a:p>
          <a:p>
            <a:pPr lvl="1" eaLnBrk="1" hangingPunct="1">
              <a:lnSpc>
                <a:spcPct val="90000"/>
              </a:lnSpc>
            </a:pPr>
            <a:r>
              <a:rPr lang="nn-NO" altLang="en-US" sz="2400" smtClean="0">
                <a:solidFill>
                  <a:srgbClr val="6C0812"/>
                </a:solidFill>
              </a:rPr>
              <a:t>Newbuilds: inflow of high-value vessels continues</a:t>
            </a:r>
            <a:endParaRPr lang="nn-NO" altLang="en-US" sz="2400" u="sng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endParaRPr lang="nn-NO" altLang="en-US" sz="2700" u="sng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nn-NO" altLang="en-US" sz="2700" b="1" smtClean="0">
                <a:solidFill>
                  <a:srgbClr val="6C0812"/>
                </a:solidFill>
              </a:rPr>
              <a:t>Global hull premium</a:t>
            </a:r>
            <a:r>
              <a:rPr lang="nn-NO" altLang="en-US" sz="2700" smtClean="0">
                <a:solidFill>
                  <a:srgbClr val="6C0812"/>
                </a:solidFill>
              </a:rPr>
              <a:t>: 2012-&gt;2013 stagnation	</a:t>
            </a:r>
          </a:p>
          <a:p>
            <a:pPr eaLnBrk="1" hangingPunct="1">
              <a:lnSpc>
                <a:spcPct val="90000"/>
              </a:lnSpc>
            </a:pPr>
            <a:endParaRPr lang="en-GB" altLang="en-US" sz="2700" smtClean="0">
              <a:solidFill>
                <a:srgbClr val="6C08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02942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755650" y="620713"/>
            <a:ext cx="7696200" cy="720725"/>
          </a:xfrm>
        </p:spPr>
        <p:txBody>
          <a:bodyPr/>
          <a:lstStyle/>
          <a:p>
            <a:pPr eaLnBrk="1" hangingPunct="1"/>
            <a:r>
              <a:rPr lang="en-GB" altLang="en-US" sz="2800" smtClean="0"/>
              <a:t>Change in insured values on renewal</a:t>
            </a:r>
          </a:p>
        </p:txBody>
      </p:sp>
      <p:pic>
        <p:nvPicPr>
          <p:cNvPr id="19459" name="Picture 2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29"/>
          <a:stretch>
            <a:fillRect/>
          </a:stretch>
        </p:blipFill>
        <p:spPr bwMode="auto">
          <a:xfrm>
            <a:off x="468313" y="1916113"/>
            <a:ext cx="8099425" cy="431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460" name="Straight Arrow Connector 5"/>
          <p:cNvCxnSpPr>
            <a:cxnSpLocks noChangeShapeType="1"/>
          </p:cNvCxnSpPr>
          <p:nvPr/>
        </p:nvCxnSpPr>
        <p:spPr bwMode="auto">
          <a:xfrm>
            <a:off x="4859338" y="3573463"/>
            <a:ext cx="2449512" cy="298450"/>
          </a:xfrm>
          <a:prstGeom prst="straightConnector1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rgbClr val="FF0000"/>
                </a:solidFill>
                <a:round/>
                <a:headEnd/>
                <a:tailEnd type="arrow" w="med" len="med"/>
              </a14:hiddenLine>
            </a:ext>
          </a:extLst>
        </p:spPr>
      </p:cxnSp>
      <p:sp>
        <p:nvSpPr>
          <p:cNvPr id="19461" name="TextBox 8"/>
          <p:cNvSpPr txBox="1">
            <a:spLocks noChangeArrowheads="1"/>
          </p:cNvSpPr>
          <p:nvPr/>
        </p:nvSpPr>
        <p:spPr bwMode="auto">
          <a:xfrm>
            <a:off x="7165976" y="1898650"/>
            <a:ext cx="1727200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n-NO" altLang="en-US" sz="2000" dirty="0" smtClean="0">
                <a:solidFill>
                  <a:srgbClr val="6C0812"/>
                </a:solidFill>
                <a:latin typeface="Calibri" pitchFamily="34" charset="0"/>
                <a:cs typeface="+mn-cs"/>
              </a:rPr>
              <a:t>Some reduction to be expected due to aging of vessels.</a:t>
            </a:r>
            <a:r>
              <a:rPr lang="nn-NO" altLang="en-US" sz="2000" dirty="0" smtClean="0">
                <a:solidFill>
                  <a:srgbClr val="1126E9"/>
                </a:solidFill>
                <a:latin typeface="Calibri" pitchFamily="34" charset="0"/>
                <a:cs typeface="+mn-cs"/>
              </a:rPr>
              <a:t> </a:t>
            </a:r>
          </a:p>
        </p:txBody>
      </p:sp>
      <p:sp>
        <p:nvSpPr>
          <p:cNvPr id="19462" name="TextBox 8"/>
          <p:cNvSpPr txBox="1">
            <a:spLocks noChangeArrowheads="1"/>
          </p:cNvSpPr>
          <p:nvPr/>
        </p:nvSpPr>
        <p:spPr bwMode="auto">
          <a:xfrm>
            <a:off x="4856163" y="2508250"/>
            <a:ext cx="17272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nn-NO" altLang="en-US" sz="2000" smtClean="0">
                <a:solidFill>
                  <a:srgbClr val="6C0812"/>
                </a:solidFill>
                <a:latin typeface="Calibri" pitchFamily="34" charset="0"/>
                <a:cs typeface="+mn-cs"/>
              </a:rPr>
              <a:t>Financial crisis effect</a:t>
            </a:r>
          </a:p>
        </p:txBody>
      </p:sp>
      <p:sp>
        <p:nvSpPr>
          <p:cNvPr id="19463" name="Text Box 3"/>
          <p:cNvSpPr txBox="1">
            <a:spLocks noChangeArrowheads="1"/>
          </p:cNvSpPr>
          <p:nvPr/>
        </p:nvSpPr>
        <p:spPr bwMode="auto">
          <a:xfrm>
            <a:off x="1077913" y="6249988"/>
            <a:ext cx="8101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9933"/>
              </a:buClr>
              <a:buSzTx/>
              <a:buFontTx/>
              <a:buNone/>
            </a:pPr>
            <a:r>
              <a:rPr lang="fr-FR" altLang="en-US" sz="1400" u="sng" smtClean="0">
                <a:solidFill>
                  <a:srgbClr val="000000"/>
                </a:solidFill>
                <a:latin typeface="Calibri" pitchFamily="34" charset="0"/>
                <a:cs typeface="+mn-cs"/>
              </a:rPr>
              <a:t>Source:</a:t>
            </a:r>
            <a:r>
              <a:rPr lang="fr-FR" altLang="en-US" sz="1400" smtClean="0">
                <a:solidFill>
                  <a:srgbClr val="000000"/>
                </a:solidFill>
                <a:latin typeface="Calibri" pitchFamily="34" charset="0"/>
                <a:cs typeface="+mn-cs"/>
              </a:rPr>
              <a:t>  Cefor NoMIS J'une 2014</a:t>
            </a:r>
            <a:endParaRPr lang="en-GB" altLang="en-US" sz="14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2" name="Straight Arrow Connector 5"/>
          <p:cNvCxnSpPr/>
          <p:nvPr/>
        </p:nvCxnSpPr>
        <p:spPr>
          <a:xfrm>
            <a:off x="4716463" y="3211513"/>
            <a:ext cx="2449512" cy="29845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17041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55650" y="476250"/>
            <a:ext cx="7696200" cy="768350"/>
          </a:xfrm>
        </p:spPr>
        <p:txBody>
          <a:bodyPr/>
          <a:lstStyle/>
          <a:p>
            <a:pPr eaLnBrk="1" hangingPunct="1"/>
            <a:r>
              <a:rPr lang="nb-NO" altLang="en-US" sz="3200" smtClean="0"/>
              <a:t>Summing up Hull</a:t>
            </a:r>
            <a:endParaRPr lang="en-GB" altLang="en-US" sz="3200" smtClean="0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en-US" sz="2400" b="1" smtClean="0">
                <a:solidFill>
                  <a:srgbClr val="6C0812"/>
                </a:solidFill>
              </a:rPr>
              <a:t>World fleet </a:t>
            </a:r>
            <a:r>
              <a:rPr lang="en-US" altLang="en-US" sz="2400" smtClean="0">
                <a:solidFill>
                  <a:srgbClr val="6C0812"/>
                </a:solidFill>
              </a:rPr>
              <a:t>continues to grow, insured risk increases,  </a:t>
            </a:r>
            <a:r>
              <a:rPr lang="en-US" altLang="en-US" sz="2400" b="1" smtClean="0">
                <a:solidFill>
                  <a:srgbClr val="6C0812"/>
                </a:solidFill>
              </a:rPr>
              <a:t>global hull premium </a:t>
            </a:r>
            <a:r>
              <a:rPr lang="en-US" altLang="en-US" sz="2400" smtClean="0">
                <a:solidFill>
                  <a:srgbClr val="6C0812"/>
                </a:solidFill>
              </a:rPr>
              <a:t>stays flat.</a:t>
            </a:r>
            <a:br>
              <a:rPr lang="en-US" altLang="en-US" sz="2400" smtClean="0">
                <a:solidFill>
                  <a:srgbClr val="6C0812"/>
                </a:solidFill>
              </a:rPr>
            </a:br>
            <a:r>
              <a:rPr lang="en-US" altLang="en-US" sz="2400" smtClean="0">
                <a:solidFill>
                  <a:srgbClr val="6C0812"/>
                </a:solidFill>
              </a:rPr>
              <a:t>   </a:t>
            </a:r>
          </a:p>
          <a:p>
            <a:pPr eaLnBrk="1" hangingPunct="1"/>
            <a:r>
              <a:rPr lang="en-US" altLang="en-US" sz="2400" b="1" smtClean="0">
                <a:solidFill>
                  <a:srgbClr val="6C0812"/>
                </a:solidFill>
              </a:rPr>
              <a:t>Claims cost &amp; frequency </a:t>
            </a:r>
            <a:r>
              <a:rPr lang="en-US" altLang="en-US" sz="2400" smtClean="0">
                <a:solidFill>
                  <a:srgbClr val="6C0812"/>
                </a:solidFill>
              </a:rPr>
              <a:t>improve, but </a:t>
            </a:r>
            <a:r>
              <a:rPr lang="en-US" altLang="en-US" sz="2400" b="1" smtClean="0">
                <a:solidFill>
                  <a:srgbClr val="6C0812"/>
                </a:solidFill>
              </a:rPr>
              <a:t>major claims </a:t>
            </a:r>
            <a:r>
              <a:rPr lang="en-US" altLang="en-US" sz="2400" smtClean="0">
                <a:solidFill>
                  <a:srgbClr val="6C0812"/>
                </a:solidFill>
              </a:rPr>
              <a:t>risk cannot be judged from one year and follows exposure.</a:t>
            </a:r>
            <a:br>
              <a:rPr lang="en-US" altLang="en-US" sz="2400" smtClean="0">
                <a:solidFill>
                  <a:srgbClr val="6C0812"/>
                </a:solidFill>
              </a:rPr>
            </a:br>
            <a:r>
              <a:rPr lang="en-US" altLang="en-US" sz="2400" smtClean="0">
                <a:solidFill>
                  <a:srgbClr val="6C0812"/>
                </a:solidFill>
              </a:rPr>
              <a:t>     </a:t>
            </a:r>
          </a:p>
          <a:p>
            <a:pPr eaLnBrk="1" hangingPunct="1"/>
            <a:r>
              <a:rPr lang="en-US" altLang="en-US" sz="2400" b="1" smtClean="0">
                <a:solidFill>
                  <a:srgbClr val="6C0812"/>
                </a:solidFill>
              </a:rPr>
              <a:t>Technical results </a:t>
            </a:r>
            <a:r>
              <a:rPr lang="en-US" altLang="en-US" sz="2400" smtClean="0">
                <a:solidFill>
                  <a:srgbClr val="6C0812"/>
                </a:solidFill>
              </a:rPr>
              <a:t>still at loss </a:t>
            </a:r>
            <a:r>
              <a:rPr lang="en-US" altLang="en-US" sz="2000" smtClean="0">
                <a:solidFill>
                  <a:srgbClr val="6C0812"/>
                </a:solidFill>
              </a:rPr>
              <a:t>(18</a:t>
            </a:r>
            <a:r>
              <a:rPr lang="en-US" altLang="en-US" sz="2000" baseline="30000" smtClean="0">
                <a:solidFill>
                  <a:srgbClr val="6C0812"/>
                </a:solidFill>
              </a:rPr>
              <a:t>th</a:t>
            </a:r>
            <a:r>
              <a:rPr lang="en-US" altLang="en-US" sz="2000" smtClean="0">
                <a:solidFill>
                  <a:srgbClr val="6C0812"/>
                </a:solidFill>
              </a:rPr>
              <a:t> consecutive year). </a:t>
            </a:r>
            <a:br>
              <a:rPr lang="en-US" altLang="en-US" sz="2000" smtClean="0">
                <a:solidFill>
                  <a:srgbClr val="6C0812"/>
                </a:solidFill>
              </a:rPr>
            </a:br>
            <a:r>
              <a:rPr lang="en-US" altLang="en-US" sz="2400" smtClean="0">
                <a:solidFill>
                  <a:srgbClr val="6C0812"/>
                </a:solidFill>
              </a:rPr>
              <a:t>Some improvement, due to reduction in claims cost.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en-US" sz="2400" smtClean="0">
                <a:solidFill>
                  <a:srgbClr val="6C0812"/>
                </a:solidFill>
              </a:rPr>
              <a:t>   </a:t>
            </a:r>
            <a:endParaRPr lang="en-GB" altLang="en-US" sz="2400" smtClean="0">
              <a:solidFill>
                <a:srgbClr val="6C08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82502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z="3200" smtClean="0"/>
              <a:t>Cargo Premium 2013</a:t>
            </a:r>
            <a:r>
              <a:rPr lang="nb-NO" altLang="en-US" sz="1600" smtClean="0"/>
              <a:t> - </a:t>
            </a:r>
            <a:r>
              <a:rPr lang="nb-NO" altLang="en-US" sz="1600" b="1" smtClean="0"/>
              <a:t>by</a:t>
            </a:r>
            <a:r>
              <a:rPr lang="nb-NO" altLang="en-US" sz="1600" smtClean="0"/>
              <a:t> </a:t>
            </a:r>
            <a:r>
              <a:rPr lang="nb-NO" altLang="en-US" sz="1600" b="1" smtClean="0"/>
              <a:t>region</a:t>
            </a:r>
            <a:endParaRPr lang="en-GB" altLang="en-US" sz="1600" b="1" smtClean="0"/>
          </a:p>
        </p:txBody>
      </p:sp>
      <p:pic>
        <p:nvPicPr>
          <p:cNvPr id="21507" name="Bil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795611"/>
            <a:ext cx="8208912" cy="4325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3" name="TextBox 5"/>
          <p:cNvSpPr txBox="1">
            <a:spLocks noChangeArrowheads="1"/>
          </p:cNvSpPr>
          <p:nvPr/>
        </p:nvSpPr>
        <p:spPr bwMode="auto">
          <a:xfrm>
            <a:off x="4838692" y="1869707"/>
            <a:ext cx="2986088" cy="7318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sz="2400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+mn-cs"/>
              </a:rPr>
              <a:t>Total: 18.2 USD bill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b="1" dirty="0">
                <a:solidFill>
                  <a:srgbClr val="CCCC99">
                    <a:lumMod val="25000"/>
                  </a:srgbClr>
                </a:solidFill>
                <a:latin typeface="Arial Black"/>
                <a:cs typeface="+mn-cs"/>
              </a:rPr>
              <a:t>Change 2012 to 2013: -0.5%</a:t>
            </a:r>
          </a:p>
        </p:txBody>
      </p:sp>
    </p:spTree>
    <p:extLst>
      <p:ext uri="{BB962C8B-B14F-4D97-AF65-F5344CB8AC3E}">
        <p14:creationId xmlns:p14="http://schemas.microsoft.com/office/powerpoint/2010/main" val="16645747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533400"/>
            <a:ext cx="7696200" cy="447675"/>
          </a:xfrm>
        </p:spPr>
        <p:txBody>
          <a:bodyPr/>
          <a:lstStyle/>
          <a:p>
            <a:pPr eaLnBrk="1" hangingPunct="1"/>
            <a:r>
              <a:rPr lang="en-GB" altLang="en-US" sz="2900" smtClean="0"/>
              <a:t>Opening Sessio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altLang="en-US" smtClean="0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1916113"/>
            <a:ext cx="7416800" cy="3986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684213" y="1125538"/>
            <a:ext cx="7696200" cy="44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smtClean="0">
                <a:solidFill>
                  <a:srgbClr val="336666"/>
                </a:solidFill>
                <a:latin typeface="Arial Rounded MT Bold" pitchFamily="34" charset="0"/>
                <a:cs typeface="+mn-cs"/>
              </a:rPr>
              <a:t>Welcome Address by CY Leung </a:t>
            </a: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900113" y="5876925"/>
            <a:ext cx="6840537" cy="44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000" smtClean="0">
                <a:solidFill>
                  <a:srgbClr val="336666"/>
                </a:solidFill>
                <a:latin typeface="Arial Rounded MT Bold" pitchFamily="34" charset="0"/>
                <a:cs typeface="+mn-cs"/>
              </a:rPr>
              <a:t>Chief Executive of HK Special Administrative Region</a:t>
            </a:r>
          </a:p>
        </p:txBody>
      </p:sp>
    </p:spTree>
    <p:extLst>
      <p:ext uri="{BB962C8B-B14F-4D97-AF65-F5344CB8AC3E}">
        <p14:creationId xmlns:p14="http://schemas.microsoft.com/office/powerpoint/2010/main" val="1204293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altLang="en-US" sz="3200" smtClean="0"/>
              <a:t>Cargo Premium / </a:t>
            </a:r>
            <a:br>
              <a:rPr lang="en-GB" altLang="en-US" sz="3200" smtClean="0"/>
            </a:br>
            <a:r>
              <a:rPr lang="en-GB" altLang="en-US" sz="3200" smtClean="0"/>
              <a:t>World Trade Values &amp; Exports</a:t>
            </a:r>
          </a:p>
        </p:txBody>
      </p:sp>
      <p:pic>
        <p:nvPicPr>
          <p:cNvPr id="22531" name="Bil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844675"/>
            <a:ext cx="7812087" cy="440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684213" y="6611938"/>
            <a:ext cx="6889750" cy="24606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FF9933"/>
              </a:buClr>
              <a:buFont typeface="Wingdings" pitchFamily="2" charset="2"/>
              <a:buNone/>
              <a:defRPr/>
            </a:pPr>
            <a:r>
              <a:rPr lang="fr-FR" sz="1000" dirty="0">
                <a:solidFill>
                  <a:srgbClr val="97CDCC">
                    <a:lumMod val="75000"/>
                  </a:srgbClr>
                </a:solidFill>
                <a:latin typeface="Arial Black"/>
                <a:cs typeface="+mn-cs"/>
              </a:rPr>
              <a:t>Source: World Trade Values: IMF</a:t>
            </a:r>
            <a:endParaRPr lang="en-GB" sz="1000" b="1" dirty="0">
              <a:solidFill>
                <a:srgbClr val="97CDCC">
                  <a:lumMod val="75000"/>
                </a:srgbClr>
              </a:solidFill>
              <a:latin typeface="Arial Black"/>
              <a:cs typeface="+mn-cs"/>
            </a:endParaRPr>
          </a:p>
        </p:txBody>
      </p:sp>
      <p:sp>
        <p:nvSpPr>
          <p:cNvPr id="17413" name="Text Box 6"/>
          <p:cNvSpPr txBox="1">
            <a:spLocks noChangeArrowheads="1"/>
          </p:cNvSpPr>
          <p:nvPr/>
        </p:nvSpPr>
        <p:spPr bwMode="auto">
          <a:xfrm>
            <a:off x="1475657" y="5949950"/>
            <a:ext cx="6957144" cy="3048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nb-NO" sz="1400" dirty="0">
                <a:solidFill>
                  <a:srgbClr val="336666"/>
                </a:solidFill>
                <a:latin typeface="Arial Black"/>
                <a:cs typeface="+mn-cs"/>
              </a:rPr>
              <a:t>Some cycle irregularities </a:t>
            </a:r>
            <a:r>
              <a:rPr kumimoji="1" lang="nb-NO" sz="1400" dirty="0" smtClean="0">
                <a:solidFill>
                  <a:srgbClr val="336666"/>
                </a:solidFill>
                <a:latin typeface="Arial Black"/>
                <a:cs typeface="+mn-cs"/>
              </a:rPr>
              <a:t> due </a:t>
            </a:r>
            <a:r>
              <a:rPr kumimoji="1" lang="nb-NO" sz="1400" dirty="0">
                <a:solidFill>
                  <a:srgbClr val="336666"/>
                </a:solidFill>
                <a:latin typeface="Arial Black"/>
                <a:cs typeface="+mn-cs"/>
              </a:rPr>
              <a:t>to exchange rates.</a:t>
            </a:r>
            <a:endParaRPr kumimoji="1" lang="en-GB" sz="1400" dirty="0">
              <a:solidFill>
                <a:srgbClr val="336666"/>
              </a:solidFill>
              <a:latin typeface="Arial Black"/>
              <a:cs typeface="+mn-cs"/>
            </a:endParaRPr>
          </a:p>
        </p:txBody>
      </p:sp>
      <p:sp>
        <p:nvSpPr>
          <p:cNvPr id="17415" name="TextBox 7"/>
          <p:cNvSpPr txBox="1">
            <a:spLocks noChangeArrowheads="1"/>
          </p:cNvSpPr>
          <p:nvPr/>
        </p:nvSpPr>
        <p:spPr bwMode="auto">
          <a:xfrm>
            <a:off x="5148065" y="4509121"/>
            <a:ext cx="3411736" cy="101566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sz="2000" dirty="0" smtClean="0">
                <a:solidFill>
                  <a:srgbClr val="FF0000"/>
                </a:solidFill>
                <a:latin typeface="Arial Black"/>
                <a:cs typeface="+mn-cs"/>
              </a:rPr>
              <a:t>Cargo premium stagnates -  but different by region. </a:t>
            </a:r>
            <a:endParaRPr lang="nn-NO" sz="2000" b="1" dirty="0">
              <a:solidFill>
                <a:srgbClr val="396CAE"/>
              </a:solidFill>
              <a:latin typeface="Arial Black"/>
              <a:cs typeface="+mn-cs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4572000" y="1722438"/>
            <a:ext cx="12700" cy="4346575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36" name="Rectangle 3"/>
          <p:cNvSpPr txBox="1">
            <a:spLocks/>
          </p:cNvSpPr>
          <p:nvPr/>
        </p:nvSpPr>
        <p:spPr bwMode="auto">
          <a:xfrm>
            <a:off x="4500563" y="620713"/>
            <a:ext cx="43211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bIns="0" anchor="b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2000" b="1" smtClean="0">
                <a:solidFill>
                  <a:srgbClr val="336666"/>
                </a:solidFill>
                <a:latin typeface="Calibri" pitchFamily="34" charset="0"/>
                <a:cs typeface="+mn-cs"/>
              </a:rPr>
              <a:t>          Index of evolution, 1995=100%</a:t>
            </a:r>
            <a:endParaRPr lang="en-GB" altLang="en-US" sz="2000" b="1" smtClean="0">
              <a:solidFill>
                <a:srgbClr val="0B5395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4760452" y="1844675"/>
            <a:ext cx="3960689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n-NO" sz="2000" dirty="0" smtClean="0">
                <a:solidFill>
                  <a:srgbClr val="FF0000"/>
                </a:solidFill>
                <a:latin typeface="Arial Black"/>
                <a:cs typeface="+mn-cs"/>
              </a:rPr>
              <a:t>Upswing in trade continues. </a:t>
            </a:r>
            <a:endParaRPr lang="nn-NO" sz="2000" b="1" dirty="0">
              <a:solidFill>
                <a:srgbClr val="396CAE"/>
              </a:solidFill>
              <a:latin typeface="Arial Black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6262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533400"/>
            <a:ext cx="8135938" cy="1143000"/>
          </a:xfrm>
        </p:spPr>
        <p:txBody>
          <a:bodyPr/>
          <a:lstStyle/>
          <a:p>
            <a:pPr eaLnBrk="1" hangingPunct="1"/>
            <a:r>
              <a:rPr lang="en-GB" altLang="en-US" sz="2900" smtClean="0">
                <a:solidFill>
                  <a:srgbClr val="06686D"/>
                </a:solidFill>
              </a:rPr>
              <a:t>Cargo – Gross Ultimate Loss Ratio </a:t>
            </a:r>
            <a:br>
              <a:rPr lang="en-GB" altLang="en-US" sz="2900" smtClean="0">
                <a:solidFill>
                  <a:srgbClr val="06686D"/>
                </a:solidFill>
              </a:rPr>
            </a:br>
            <a:r>
              <a:rPr lang="en-GB" altLang="en-US" sz="2400" smtClean="0">
                <a:solidFill>
                  <a:srgbClr val="06686D"/>
                </a:solidFill>
              </a:rPr>
              <a:t>Europe/USA,</a:t>
            </a:r>
            <a:r>
              <a:rPr lang="en-GB" altLang="en-US" sz="2900" smtClean="0">
                <a:solidFill>
                  <a:srgbClr val="06686D"/>
                </a:solidFill>
              </a:rPr>
              <a:t> </a:t>
            </a:r>
            <a:r>
              <a:rPr lang="en-GB" altLang="en-US" sz="2400" smtClean="0">
                <a:solidFill>
                  <a:srgbClr val="06686D"/>
                </a:solidFill>
              </a:rPr>
              <a:t>Underwriting  years 1996 to 2013</a:t>
            </a:r>
            <a:r>
              <a:rPr lang="en-GB" altLang="en-US" sz="2900" smtClean="0">
                <a:solidFill>
                  <a:srgbClr val="06686D"/>
                </a:solidFill>
              </a:rPr>
              <a:t> 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en-US" smtClean="0"/>
          </a:p>
        </p:txBody>
      </p:sp>
      <p:pic>
        <p:nvPicPr>
          <p:cNvPr id="2355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557338"/>
            <a:ext cx="8352159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7092950" y="2060575"/>
            <a:ext cx="1862138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b="1" u="sng" dirty="0">
                <a:solidFill>
                  <a:srgbClr val="FFFFFF">
                    <a:lumMod val="50000"/>
                  </a:srgbClr>
                </a:solidFill>
                <a:cs typeface="+mn-cs"/>
              </a:rPr>
              <a:t>Since 2007: </a:t>
            </a:r>
            <a:r>
              <a:rPr lang="nb-NO" dirty="0">
                <a:solidFill>
                  <a:srgbClr val="FFFFFF">
                    <a:lumMod val="50000"/>
                  </a:srgbClr>
                </a:solidFill>
                <a:cs typeface="+mn-cs"/>
              </a:rPr>
              <a:t>Deterioration of good </a:t>
            </a:r>
            <a: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2002-2006 results.</a:t>
            </a:r>
            <a:endParaRPr lang="nb-NO" dirty="0">
              <a:solidFill>
                <a:srgbClr val="FFFFFF">
                  <a:lumMod val="50000"/>
                </a:srgbClr>
              </a:solidFill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nb-NO" b="1" u="sng" dirty="0">
              <a:solidFill>
                <a:srgbClr val="FFFFFF">
                  <a:lumMod val="50000"/>
                </a:srgbClr>
              </a:solidFill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b="1" u="sng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2009-2013</a:t>
            </a:r>
            <a:br>
              <a:rPr lang="nb-NO" b="1" u="sng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2011-2013 start at about 72%. </a:t>
            </a:r>
            <a:b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/>
            </a:r>
            <a:b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2012 Sandy affects mainly US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/>
            </a:r>
            <a:br>
              <a:rPr lang="nb-NO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endParaRPr lang="nb-NO" b="1" dirty="0" smtClean="0">
              <a:solidFill>
                <a:srgbClr val="FFFFFF">
                  <a:lumMod val="50000"/>
                </a:srgbClr>
              </a:solidFill>
              <a:cs typeface="+mn-cs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1258888" y="3500438"/>
            <a:ext cx="5689600" cy="290512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nn-NO" altLang="en-US" sz="18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3059113" y="4076700"/>
            <a:ext cx="1655762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 bwMode="auto">
          <a:xfrm flipV="1">
            <a:off x="3276600" y="3644900"/>
            <a:ext cx="1263650" cy="215900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868145" y="2133600"/>
            <a:ext cx="1010494" cy="915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b="1" dirty="0">
                <a:solidFill>
                  <a:srgbClr val="FF0000"/>
                </a:solidFill>
                <a:latin typeface="Arial Black"/>
                <a:cs typeface="+mn-cs"/>
              </a:rPr>
              <a:t>2012 Sandy peak</a:t>
            </a:r>
          </a:p>
        </p:txBody>
      </p:sp>
      <p:cxnSp>
        <p:nvCxnSpPr>
          <p:cNvPr id="19" name="Straight Arrow Connector 18"/>
          <p:cNvCxnSpPr>
            <a:stCxn id="5" idx="2"/>
          </p:cNvCxnSpPr>
          <p:nvPr/>
        </p:nvCxnSpPr>
        <p:spPr bwMode="auto">
          <a:xfrm>
            <a:off x="6373392" y="3049588"/>
            <a:ext cx="71858" cy="468312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auto">
          <a:xfrm>
            <a:off x="5292725" y="3862388"/>
            <a:ext cx="165576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8365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en-US" sz="3200" smtClean="0"/>
              <a:t>Summing up cargo</a:t>
            </a:r>
            <a:endParaRPr lang="en-GB" altLang="en-US" sz="3200" smtClean="0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GB" altLang="en-US" sz="1000" smtClean="0"/>
              <a:t> 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Upswing in trade continues, cargo premium stagnates.</a:t>
            </a:r>
            <a:br>
              <a:rPr lang="en-GB" altLang="en-US" sz="2000" smtClean="0">
                <a:solidFill>
                  <a:srgbClr val="6C0812"/>
                </a:solidFill>
              </a:rPr>
            </a:b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Without Sandy, 2010-2013 show similar loss ratios.</a:t>
            </a:r>
            <a:br>
              <a:rPr lang="en-GB" altLang="en-US" sz="2000" smtClean="0">
                <a:solidFill>
                  <a:srgbClr val="6C0812"/>
                </a:solidFill>
              </a:rPr>
            </a:b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Claims pattern differ in recent years.</a:t>
            </a:r>
            <a:br>
              <a:rPr lang="en-GB" altLang="en-US" sz="2000" smtClean="0">
                <a:solidFill>
                  <a:srgbClr val="6C0812"/>
                </a:solidFill>
              </a:rPr>
            </a:br>
            <a:r>
              <a:rPr lang="en-GB" altLang="en-US" sz="2000" smtClean="0">
                <a:solidFill>
                  <a:srgbClr val="6C0812"/>
                </a:solidFill>
              </a:rPr>
              <a:t>Impact of natural catastrophes (Thailand floods, Sandy). 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Claim cost unlikely to decrease.</a:t>
            </a:r>
            <a:br>
              <a:rPr lang="en-GB" altLang="en-US" sz="2000" smtClean="0">
                <a:solidFill>
                  <a:srgbClr val="6C0812"/>
                </a:solidFill>
              </a:rPr>
            </a:b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Results differ by region – some do well, some deteriorate. 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Arial" charset="0"/>
              <a:buChar char="•"/>
            </a:pPr>
            <a:r>
              <a:rPr lang="en-GB" altLang="en-US" sz="2000" smtClean="0">
                <a:solidFill>
                  <a:srgbClr val="6C0812"/>
                </a:solidFill>
              </a:rPr>
              <a:t>Future uncertain – difficult conditions continue.</a:t>
            </a:r>
            <a:endParaRPr lang="nn-NO" altLang="en-US" sz="2000" smtClean="0">
              <a:solidFill>
                <a:srgbClr val="6C0812"/>
              </a:solidFill>
            </a:endParaRPr>
          </a:p>
          <a:p>
            <a:pPr lvl="1" eaLnBrk="1" hangingPunct="1">
              <a:lnSpc>
                <a:spcPct val="90000"/>
              </a:lnSpc>
            </a:pPr>
            <a:endParaRPr lang="en-GB" altLang="en-US" sz="2000" smtClean="0">
              <a:solidFill>
                <a:srgbClr val="6C08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9674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smtClean="0"/>
              <a:t>Summing up Conference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GB" altLang="en-US" sz="2000" smtClean="0">
                <a:solidFill>
                  <a:srgbClr val="6C0812"/>
                </a:solidFill>
              </a:rPr>
              <a:t>A very good IUMI 2014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z="2000" smtClean="0">
                <a:solidFill>
                  <a:srgbClr val="6C0812"/>
                </a:solidFill>
              </a:rPr>
              <a:t>Very high number of attendees 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z="2000" smtClean="0">
                <a:solidFill>
                  <a:srgbClr val="6C0812"/>
                </a:solidFill>
              </a:rPr>
              <a:t>Interesting presentations well delivered by the speakers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z="2000" smtClean="0">
                <a:solidFill>
                  <a:srgbClr val="6C0812"/>
                </a:solidFill>
              </a:rPr>
              <a:t>Excellent organisation, despite the inexplicable hiccups of the voting system for the evaluation of presentations 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z="2000" smtClean="0">
                <a:solidFill>
                  <a:srgbClr val="6C0812"/>
                </a:solidFill>
              </a:rPr>
              <a:t>Successful work by the Chairman, Ex-Co and Secretary to strengthen IUMI’s  voice in IMO and other key maritime organisations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z="2000" smtClean="0">
                <a:solidFill>
                  <a:srgbClr val="6C0812"/>
                </a:solidFill>
              </a:rPr>
              <a:t>IMCC may be a precious asset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endParaRPr lang="en-GB" altLang="en-US" sz="2000" smtClean="0">
              <a:solidFill>
                <a:srgbClr val="6C0812"/>
              </a:solidFill>
            </a:endParaRP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GB" altLang="en-US" sz="2000" smtClean="0">
                <a:solidFill>
                  <a:srgbClr val="6C0812"/>
                </a:solidFill>
              </a:rPr>
              <a:t>	The conference papers will be available in the IUMI web site www.IUMI.com</a:t>
            </a:r>
          </a:p>
        </p:txBody>
      </p:sp>
    </p:spTree>
    <p:extLst>
      <p:ext uri="{BB962C8B-B14F-4D97-AF65-F5344CB8AC3E}">
        <p14:creationId xmlns:p14="http://schemas.microsoft.com/office/powerpoint/2010/main" val="168912067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827088" y="476250"/>
            <a:ext cx="7696200" cy="623888"/>
          </a:xfrm>
        </p:spPr>
        <p:txBody>
          <a:bodyPr/>
          <a:lstStyle/>
          <a:p>
            <a:pPr eaLnBrk="1" hangingPunct="1"/>
            <a:r>
              <a:rPr lang="en-GB" altLang="en-US" smtClean="0"/>
              <a:t>Key statements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989138"/>
            <a:ext cx="7983537" cy="4032250"/>
          </a:xfrm>
          <a:solidFill>
            <a:srgbClr val="FFFFFF"/>
          </a:solidFill>
        </p:spPr>
        <p:txBody>
          <a:bodyPr/>
          <a:lstStyle/>
          <a:p>
            <a:pPr eaLnBrk="1" hangingPunct="1"/>
            <a:r>
              <a:rPr lang="en-GB" altLang="en-US" sz="2400" smtClean="0">
                <a:solidFill>
                  <a:srgbClr val="6C0812"/>
                </a:solidFill>
              </a:rPr>
              <a:t>The government is committed to ensuring that Hong Kong remains an international maritime centre.</a:t>
            </a:r>
          </a:p>
          <a:p>
            <a:pPr eaLnBrk="1" hangingPunct="1"/>
            <a:r>
              <a:rPr lang="en-GB" altLang="en-US" sz="2400" smtClean="0">
                <a:solidFill>
                  <a:srgbClr val="6C0812"/>
                </a:solidFill>
              </a:rPr>
              <a:t>Marine insurance will be a key contributor. </a:t>
            </a:r>
          </a:p>
          <a:p>
            <a:pPr eaLnBrk="1" hangingPunct="1"/>
            <a:r>
              <a:rPr lang="en-GB" altLang="en-US" sz="2400" smtClean="0">
                <a:solidFill>
                  <a:srgbClr val="6C0812"/>
                </a:solidFill>
              </a:rPr>
              <a:t>There are more than 150 insurers, the largest concentration in Asia, of which 88 are authorised to provide marine and cargo insurance, </a:t>
            </a:r>
          </a:p>
          <a:p>
            <a:pPr eaLnBrk="1" hangingPunct="1"/>
            <a:r>
              <a:rPr lang="en-GB" altLang="en-US" sz="2400" smtClean="0">
                <a:solidFill>
                  <a:srgbClr val="6C0812"/>
                </a:solidFill>
              </a:rPr>
              <a:t>Seven P&amp;I clubs, the largest cluster outside London.</a:t>
            </a:r>
          </a:p>
          <a:p>
            <a:pPr eaLnBrk="1" hangingPunct="1"/>
            <a:r>
              <a:rPr lang="en-GB" altLang="en-US" sz="2400" smtClean="0">
                <a:solidFill>
                  <a:srgbClr val="6C0812"/>
                </a:solidFill>
              </a:rPr>
              <a:t>In the first half of 2014, Hong Kong’s Hull and Cargo insurance gross premiums reached HK$1.8 billion.</a:t>
            </a:r>
          </a:p>
        </p:txBody>
      </p:sp>
    </p:spTree>
    <p:extLst>
      <p:ext uri="{BB962C8B-B14F-4D97-AF65-F5344CB8AC3E}">
        <p14:creationId xmlns:p14="http://schemas.microsoft.com/office/powerpoint/2010/main" val="35682249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67" grpId="0" build="p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533400"/>
            <a:ext cx="7696200" cy="663575"/>
          </a:xfrm>
        </p:spPr>
        <p:txBody>
          <a:bodyPr/>
          <a:lstStyle/>
          <a:p>
            <a:pPr eaLnBrk="1" hangingPunct="1"/>
            <a:r>
              <a:rPr lang="en-GB" altLang="en-US" smtClean="0"/>
              <a:t>Key Note Presentations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844675"/>
            <a:ext cx="8424863" cy="1884363"/>
          </a:xfrm>
        </p:spPr>
        <p:txBody>
          <a:bodyPr/>
          <a:lstStyle/>
          <a:p>
            <a:pPr eaLnBrk="1" hangingPunct="1">
              <a:tabLst>
                <a:tab pos="7805738" algn="r"/>
              </a:tabLst>
            </a:pPr>
            <a:r>
              <a:rPr lang="en-GB" altLang="en-US" sz="3200" smtClean="0">
                <a:solidFill>
                  <a:schemeClr val="folHlink"/>
                </a:solidFill>
              </a:rPr>
              <a:t>Hon.Laura Cha</a:t>
            </a:r>
            <a:r>
              <a:rPr lang="en-GB" altLang="en-US" smtClean="0">
                <a:solidFill>
                  <a:schemeClr val="folHlink"/>
                </a:solidFill>
              </a:rPr>
              <a:t> 	</a:t>
            </a:r>
            <a:r>
              <a:rPr lang="en-GB" altLang="en-US" sz="2000" smtClean="0">
                <a:solidFill>
                  <a:schemeClr val="folHlink"/>
                </a:solidFill>
              </a:rPr>
              <a:t>Chairman of Financial Services 		Development Council</a:t>
            </a:r>
          </a:p>
        </p:txBody>
      </p:sp>
      <p:pic>
        <p:nvPicPr>
          <p:cNvPr id="6148" name="Picture 4" descr="fd9b277af9c03909b3499b2df5a2804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2420938"/>
            <a:ext cx="2376488" cy="148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3924300" y="3213100"/>
            <a:ext cx="48228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2400" smtClean="0">
                <a:solidFill>
                  <a:srgbClr val="336666"/>
                </a:solidFill>
                <a:cs typeface="+mn-cs"/>
              </a:rPr>
              <a:t>Shift to Asia and its Implications</a:t>
            </a:r>
          </a:p>
        </p:txBody>
      </p:sp>
      <p:sp>
        <p:nvSpPr>
          <p:cNvPr id="6150" name="Text Box 6"/>
          <p:cNvSpPr txBox="1">
            <a:spLocks noChangeArrowheads="1"/>
          </p:cNvSpPr>
          <p:nvPr/>
        </p:nvSpPr>
        <p:spPr bwMode="auto">
          <a:xfrm>
            <a:off x="611188" y="4005263"/>
            <a:ext cx="8208962" cy="207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65113" indent="-265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Mainland China is the world’s second largest economy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Asia retains 90% of ship order book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25% of global marine premiums are in the Asian Insurance Market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20% of Mainland commercial transactions are in RMB (2010 was 2%)</a:t>
            </a:r>
          </a:p>
        </p:txBody>
      </p:sp>
    </p:spTree>
    <p:extLst>
      <p:ext uri="{BB962C8B-B14F-4D97-AF65-F5344CB8AC3E}">
        <p14:creationId xmlns:p14="http://schemas.microsoft.com/office/powerpoint/2010/main" val="9600887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533400"/>
            <a:ext cx="7696200" cy="663575"/>
          </a:xfrm>
        </p:spPr>
        <p:txBody>
          <a:bodyPr/>
          <a:lstStyle/>
          <a:p>
            <a:pPr eaLnBrk="1" hangingPunct="1"/>
            <a:r>
              <a:rPr lang="en-GB" altLang="en-US" smtClean="0"/>
              <a:t>Key Note Presentations</a:t>
            </a:r>
          </a:p>
        </p:txBody>
      </p:sp>
      <p:sp>
        <p:nvSpPr>
          <p:cNvPr id="7171" name="Rectangle 6"/>
          <p:cNvSpPr>
            <a:spLocks noChangeArrowheads="1"/>
          </p:cNvSpPr>
          <p:nvPr/>
        </p:nvSpPr>
        <p:spPr bwMode="auto">
          <a:xfrm>
            <a:off x="323850" y="1916113"/>
            <a:ext cx="8424863" cy="410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tabLst>
                <a:tab pos="7805738" algn="r"/>
              </a:tabLst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tabLst>
                <a:tab pos="7805738" algn="r"/>
              </a:tabLst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tabLst>
                <a:tab pos="7805738" algn="r"/>
              </a:tabLst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7805738" algn="r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CCCC99"/>
              </a:buClr>
            </a:pPr>
            <a:r>
              <a:rPr lang="en-GB" altLang="en-US" sz="3200" smtClean="0">
                <a:solidFill>
                  <a:srgbClr val="336666"/>
                </a:solidFill>
                <a:cs typeface="+mn-cs"/>
              </a:rPr>
              <a:t>Prof. Dennis Kessler  	</a:t>
            </a:r>
            <a:r>
              <a:rPr lang="en-GB" altLang="en-US" sz="2000" smtClean="0">
                <a:solidFill>
                  <a:srgbClr val="336666"/>
                </a:solidFill>
                <a:cs typeface="+mn-cs"/>
              </a:rPr>
              <a:t>CEO of SCOR RE</a:t>
            </a:r>
            <a:endParaRPr lang="en-GB" altLang="en-US" sz="3200" smtClean="0">
              <a:solidFill>
                <a:srgbClr val="336666"/>
              </a:solidFill>
              <a:cs typeface="+mn-cs"/>
            </a:endParaRPr>
          </a:p>
        </p:txBody>
      </p:sp>
      <p:pic>
        <p:nvPicPr>
          <p:cNvPr id="7172" name="Picture 8" descr="ANd9GcTAmyvLXvObPWUP3BSILh1QvbRslUZIafnCEPpI9Q_SvNf3ix6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2492375"/>
            <a:ext cx="2449512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3" name="Text Box 10"/>
          <p:cNvSpPr txBox="1">
            <a:spLocks noChangeArrowheads="1"/>
          </p:cNvSpPr>
          <p:nvPr/>
        </p:nvSpPr>
        <p:spPr bwMode="auto">
          <a:xfrm>
            <a:off x="3924300" y="2708275"/>
            <a:ext cx="4968875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2400" smtClean="0">
                <a:solidFill>
                  <a:srgbClr val="336666"/>
                </a:solidFill>
                <a:cs typeface="+mn-cs"/>
              </a:rPr>
              <a:t>Expertise and  Management Key Features of Sustainable Growth</a:t>
            </a:r>
          </a:p>
        </p:txBody>
      </p:sp>
      <p:sp>
        <p:nvSpPr>
          <p:cNvPr id="7174" name="Text Box 12"/>
          <p:cNvSpPr txBox="1">
            <a:spLocks noChangeArrowheads="1"/>
          </p:cNvSpPr>
          <p:nvPr/>
        </p:nvSpPr>
        <p:spPr bwMode="auto">
          <a:xfrm>
            <a:off x="539750" y="4076700"/>
            <a:ext cx="8208963" cy="222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65113" indent="-265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Asia dominates in number of shipbuilding yards and energy supply flow. 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9 out of 10 largest container ports - 2 of 5 top finance institutions</a:t>
            </a:r>
            <a:br>
              <a:rPr lang="en-GB" altLang="en-US" sz="2000" smtClean="0">
                <a:solidFill>
                  <a:srgbClr val="6C0812"/>
                </a:solidFill>
                <a:cs typeface="+mn-cs"/>
              </a:rPr>
            </a:b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 5 of 5 top shipbuilders - 4 of 5 top shipowners are in Asia.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Evolving risks due to size of ships - complexity need new ways of assessment.</a:t>
            </a:r>
          </a:p>
        </p:txBody>
      </p:sp>
    </p:spTree>
    <p:extLst>
      <p:ext uri="{BB962C8B-B14F-4D97-AF65-F5344CB8AC3E}">
        <p14:creationId xmlns:p14="http://schemas.microsoft.com/office/powerpoint/2010/main" val="234068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333375"/>
            <a:ext cx="7696200" cy="1143000"/>
          </a:xfrm>
        </p:spPr>
        <p:txBody>
          <a:bodyPr/>
          <a:lstStyle/>
          <a:p>
            <a:pPr eaLnBrk="1" hangingPunct="1"/>
            <a:r>
              <a:rPr lang="en-GB" altLang="en-US" smtClean="0">
                <a:latin typeface="Arial" charset="0"/>
              </a:rPr>
              <a:t>...as Asia is expected to dominate global container flow in 2020..</a:t>
            </a:r>
          </a:p>
        </p:txBody>
      </p:sp>
      <p:sp>
        <p:nvSpPr>
          <p:cNvPr id="8195" name="Rectangle 4"/>
          <p:cNvSpPr>
            <a:spLocks noChangeArrowheads="1"/>
          </p:cNvSpPr>
          <p:nvPr/>
        </p:nvSpPr>
        <p:spPr bwMode="auto">
          <a:xfrm>
            <a:off x="5867400" y="765175"/>
            <a:ext cx="2592388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buClr>
                <a:srgbClr val="CCCC99"/>
              </a:buClr>
              <a:buFont typeface="Wingdings" pitchFamily="2" charset="2"/>
              <a:buNone/>
            </a:pPr>
            <a:endParaRPr lang="en-GB" altLang="en-US" sz="1000" smtClean="0">
              <a:solidFill>
                <a:srgbClr val="000000"/>
              </a:solidFill>
              <a:cs typeface="+mn-cs"/>
            </a:endParaRPr>
          </a:p>
          <a:p>
            <a:pPr eaLnBrk="1" hangingPunct="1">
              <a:lnSpc>
                <a:spcPct val="80000"/>
              </a:lnSpc>
              <a:buClr>
                <a:srgbClr val="CCCC99"/>
              </a:buClr>
              <a:buFont typeface="Wingdings" pitchFamily="2" charset="2"/>
              <a:buNone/>
            </a:pPr>
            <a:endParaRPr lang="en-GB" altLang="en-US" sz="1000" smtClean="0">
              <a:solidFill>
                <a:srgbClr val="000000"/>
              </a:solidFill>
              <a:cs typeface="+mn-cs"/>
            </a:endParaRPr>
          </a:p>
          <a:p>
            <a:pPr eaLnBrk="1" hangingPunct="1">
              <a:lnSpc>
                <a:spcPct val="80000"/>
              </a:lnSpc>
              <a:buClr>
                <a:srgbClr val="CCCC99"/>
              </a:buClr>
              <a:buFont typeface="Wingdings" pitchFamily="2" charset="2"/>
              <a:buNone/>
            </a:pPr>
            <a:r>
              <a:rPr lang="en-GB" altLang="en-US" sz="1800" b="1" smtClean="0">
                <a:solidFill>
                  <a:srgbClr val="336666"/>
                </a:solidFill>
                <a:cs typeface="+mn-cs"/>
              </a:rPr>
              <a:t>Forecast 2010 mTEU</a:t>
            </a:r>
          </a:p>
        </p:txBody>
      </p:sp>
      <p:sp>
        <p:nvSpPr>
          <p:cNvPr id="8196" name="Oval 238"/>
          <p:cNvSpPr>
            <a:spLocks noChangeArrowheads="1"/>
          </p:cNvSpPr>
          <p:nvPr/>
        </p:nvSpPr>
        <p:spPr bwMode="gray">
          <a:xfrm>
            <a:off x="787400" y="5489575"/>
            <a:ext cx="206851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tabLst>
                <a:tab pos="246063" algn="l"/>
              </a:tabLst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tabLst>
                <a:tab pos="246063" algn="l"/>
              </a:tabLst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tabLst>
                <a:tab pos="246063" algn="l"/>
              </a:tabLst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9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	= Other routes</a:t>
            </a:r>
          </a:p>
        </p:txBody>
      </p:sp>
      <p:sp>
        <p:nvSpPr>
          <p:cNvPr id="8197" name="Oval 214"/>
          <p:cNvSpPr>
            <a:spLocks noChangeArrowheads="1"/>
          </p:cNvSpPr>
          <p:nvPr/>
        </p:nvSpPr>
        <p:spPr bwMode="gray">
          <a:xfrm>
            <a:off x="765175" y="5454650"/>
            <a:ext cx="141288" cy="122238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 type="none" w="lg" len="lg"/>
            <a:tailEnd type="none" w="lg" len="lg"/>
          </a:ln>
        </p:spPr>
        <p:txBody>
          <a:bodyPr lIns="84853" tIns="42427" rIns="84853" bIns="42427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198" name="Oval 238"/>
          <p:cNvSpPr>
            <a:spLocks noChangeArrowheads="1"/>
          </p:cNvSpPr>
          <p:nvPr/>
        </p:nvSpPr>
        <p:spPr bwMode="gray">
          <a:xfrm>
            <a:off x="787400" y="5129213"/>
            <a:ext cx="2632075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tabLst>
                <a:tab pos="246063" algn="l"/>
              </a:tabLst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tabLst>
                <a:tab pos="246063" algn="l"/>
              </a:tabLst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tabLst>
                <a:tab pos="246063" algn="l"/>
              </a:tabLst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9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	= Asia related</a:t>
            </a:r>
            <a:r>
              <a:rPr lang="en-US" altLang="zh-HK" sz="900" baseline="300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1</a:t>
            </a:r>
            <a:r>
              <a:rPr lang="en-US" altLang="zh-HK" sz="9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 </a:t>
            </a:r>
          </a:p>
        </p:txBody>
      </p:sp>
      <p:sp>
        <p:nvSpPr>
          <p:cNvPr id="8199" name="Oval 228"/>
          <p:cNvSpPr>
            <a:spLocks noChangeArrowheads="1"/>
          </p:cNvSpPr>
          <p:nvPr/>
        </p:nvSpPr>
        <p:spPr bwMode="gray">
          <a:xfrm>
            <a:off x="765175" y="5273675"/>
            <a:ext cx="141288" cy="122238"/>
          </a:xfrm>
          <a:prstGeom prst="ellipse">
            <a:avLst/>
          </a:prstGeom>
          <a:solidFill>
            <a:srgbClr val="EEA632"/>
          </a:solidFill>
          <a:ln w="9525" algn="ctr">
            <a:solidFill>
              <a:srgbClr val="EEA632"/>
            </a:solidFill>
            <a:round/>
            <a:headEnd type="none" w="lg" len="lg"/>
            <a:tailEnd type="none" w="lg" len="lg"/>
          </a:ln>
        </p:spPr>
        <p:txBody>
          <a:bodyPr lIns="84853" tIns="42427" rIns="84853" bIns="42427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200" name="Freeform 4"/>
          <p:cNvSpPr>
            <a:spLocks/>
          </p:cNvSpPr>
          <p:nvPr/>
        </p:nvSpPr>
        <p:spPr bwMode="gray">
          <a:xfrm>
            <a:off x="7299325" y="5026025"/>
            <a:ext cx="85725" cy="80963"/>
          </a:xfrm>
          <a:custGeom>
            <a:avLst/>
            <a:gdLst>
              <a:gd name="T0" fmla="*/ 2147483647 w 121"/>
              <a:gd name="T1" fmla="*/ 0 h 109"/>
              <a:gd name="T2" fmla="*/ 2147483647 w 121"/>
              <a:gd name="T3" fmla="*/ 0 h 109"/>
              <a:gd name="T4" fmla="*/ 2147483647 w 121"/>
              <a:gd name="T5" fmla="*/ 0 h 109"/>
              <a:gd name="T6" fmla="*/ 2147483647 w 121"/>
              <a:gd name="T7" fmla="*/ 0 h 109"/>
              <a:gd name="T8" fmla="*/ 2147483647 w 121"/>
              <a:gd name="T9" fmla="*/ 2147483647 h 109"/>
              <a:gd name="T10" fmla="*/ 2147483647 w 121"/>
              <a:gd name="T11" fmla="*/ 2147483647 h 109"/>
              <a:gd name="T12" fmla="*/ 2147483647 w 121"/>
              <a:gd name="T13" fmla="*/ 2147483647 h 109"/>
              <a:gd name="T14" fmla="*/ 2147483647 w 121"/>
              <a:gd name="T15" fmla="*/ 2147483647 h 109"/>
              <a:gd name="T16" fmla="*/ 2147483647 w 121"/>
              <a:gd name="T17" fmla="*/ 2147483647 h 109"/>
              <a:gd name="T18" fmla="*/ 2147483647 w 121"/>
              <a:gd name="T19" fmla="*/ 2147483647 h 109"/>
              <a:gd name="T20" fmla="*/ 2147483647 w 121"/>
              <a:gd name="T21" fmla="*/ 2147483647 h 109"/>
              <a:gd name="T22" fmla="*/ 0 w 121"/>
              <a:gd name="T23" fmla="*/ 0 h 109"/>
              <a:gd name="T24" fmla="*/ 2147483647 w 121"/>
              <a:gd name="T25" fmla="*/ 0 h 109"/>
              <a:gd name="T26" fmla="*/ 2147483647 w 121"/>
              <a:gd name="T27" fmla="*/ 0 h 10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1"/>
              <a:gd name="T43" fmla="*/ 0 h 109"/>
              <a:gd name="T44" fmla="*/ 121 w 121"/>
              <a:gd name="T45" fmla="*/ 109 h 10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1" h="109">
                <a:moveTo>
                  <a:pt x="62" y="0"/>
                </a:moveTo>
                <a:lnTo>
                  <a:pt x="83" y="0"/>
                </a:lnTo>
                <a:lnTo>
                  <a:pt x="102" y="0"/>
                </a:lnTo>
                <a:lnTo>
                  <a:pt x="121" y="0"/>
                </a:lnTo>
                <a:lnTo>
                  <a:pt x="121" y="19"/>
                </a:lnTo>
                <a:lnTo>
                  <a:pt x="121" y="36"/>
                </a:lnTo>
                <a:lnTo>
                  <a:pt x="121" y="53"/>
                </a:lnTo>
                <a:lnTo>
                  <a:pt x="102" y="90"/>
                </a:lnTo>
                <a:lnTo>
                  <a:pt x="62" y="109"/>
                </a:lnTo>
                <a:lnTo>
                  <a:pt x="43" y="90"/>
                </a:lnTo>
                <a:lnTo>
                  <a:pt x="22" y="53"/>
                </a:lnTo>
                <a:lnTo>
                  <a:pt x="0" y="0"/>
                </a:lnTo>
                <a:lnTo>
                  <a:pt x="22" y="0"/>
                </a:lnTo>
                <a:lnTo>
                  <a:pt x="62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1" name="Freeform 5"/>
          <p:cNvSpPr>
            <a:spLocks/>
          </p:cNvSpPr>
          <p:nvPr/>
        </p:nvSpPr>
        <p:spPr bwMode="gray">
          <a:xfrm>
            <a:off x="7805738" y="5180013"/>
            <a:ext cx="0" cy="12700"/>
          </a:xfrm>
          <a:custGeom>
            <a:avLst/>
            <a:gdLst>
              <a:gd name="T0" fmla="*/ 0 h 17"/>
              <a:gd name="T1" fmla="*/ 2147483647 h 17"/>
              <a:gd name="T2" fmla="*/ 0 h 17"/>
              <a:gd name="T3" fmla="*/ 0 60000 65536"/>
              <a:gd name="T4" fmla="*/ 0 60000 65536"/>
              <a:gd name="T5" fmla="*/ 0 60000 65536"/>
              <a:gd name="T6" fmla="*/ 0 h 17"/>
              <a:gd name="T7" fmla="*/ 17 h 17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17">
                <a:moveTo>
                  <a:pt x="0" y="0"/>
                </a:moveTo>
                <a:lnTo>
                  <a:pt x="0" y="17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2" name="Freeform 6"/>
          <p:cNvSpPr>
            <a:spLocks/>
          </p:cNvSpPr>
          <p:nvPr/>
        </p:nvSpPr>
        <p:spPr bwMode="gray">
          <a:xfrm>
            <a:off x="7777163" y="5026025"/>
            <a:ext cx="153987" cy="153988"/>
          </a:xfrm>
          <a:custGeom>
            <a:avLst/>
            <a:gdLst>
              <a:gd name="T0" fmla="*/ 2147483647 w 221"/>
              <a:gd name="T1" fmla="*/ 2147483647 h 215"/>
              <a:gd name="T2" fmla="*/ 2147483647 w 221"/>
              <a:gd name="T3" fmla="*/ 2147483647 h 215"/>
              <a:gd name="T4" fmla="*/ 2147483647 w 221"/>
              <a:gd name="T5" fmla="*/ 2147483647 h 215"/>
              <a:gd name="T6" fmla="*/ 2147483647 w 221"/>
              <a:gd name="T7" fmla="*/ 2147483647 h 215"/>
              <a:gd name="T8" fmla="*/ 2147483647 w 221"/>
              <a:gd name="T9" fmla="*/ 2147483647 h 215"/>
              <a:gd name="T10" fmla="*/ 2147483647 w 221"/>
              <a:gd name="T11" fmla="*/ 0 h 215"/>
              <a:gd name="T12" fmla="*/ 2147483647 w 221"/>
              <a:gd name="T13" fmla="*/ 0 h 215"/>
              <a:gd name="T14" fmla="*/ 2147483647 w 221"/>
              <a:gd name="T15" fmla="*/ 2147483647 h 215"/>
              <a:gd name="T16" fmla="*/ 2147483647 w 221"/>
              <a:gd name="T17" fmla="*/ 2147483647 h 215"/>
              <a:gd name="T18" fmla="*/ 2147483647 w 221"/>
              <a:gd name="T19" fmla="*/ 2147483647 h 215"/>
              <a:gd name="T20" fmla="*/ 2147483647 w 221"/>
              <a:gd name="T21" fmla="*/ 2147483647 h 215"/>
              <a:gd name="T22" fmla="*/ 2147483647 w 221"/>
              <a:gd name="T23" fmla="*/ 2147483647 h 215"/>
              <a:gd name="T24" fmla="*/ 2147483647 w 221"/>
              <a:gd name="T25" fmla="*/ 2147483647 h 215"/>
              <a:gd name="T26" fmla="*/ 2147483647 w 221"/>
              <a:gd name="T27" fmla="*/ 2147483647 h 215"/>
              <a:gd name="T28" fmla="*/ 2147483647 w 221"/>
              <a:gd name="T29" fmla="*/ 2147483647 h 215"/>
              <a:gd name="T30" fmla="*/ 2147483647 w 221"/>
              <a:gd name="T31" fmla="*/ 2147483647 h 215"/>
              <a:gd name="T32" fmla="*/ 2147483647 w 221"/>
              <a:gd name="T33" fmla="*/ 2147483647 h 215"/>
              <a:gd name="T34" fmla="*/ 2147483647 w 221"/>
              <a:gd name="T35" fmla="*/ 2147483647 h 215"/>
              <a:gd name="T36" fmla="*/ 2147483647 w 221"/>
              <a:gd name="T37" fmla="*/ 2147483647 h 215"/>
              <a:gd name="T38" fmla="*/ 2147483647 w 221"/>
              <a:gd name="T39" fmla="*/ 2147483647 h 215"/>
              <a:gd name="T40" fmla="*/ 2147483647 w 221"/>
              <a:gd name="T41" fmla="*/ 2147483647 h 215"/>
              <a:gd name="T42" fmla="*/ 2147483647 w 221"/>
              <a:gd name="T43" fmla="*/ 2147483647 h 215"/>
              <a:gd name="T44" fmla="*/ 2147483647 w 221"/>
              <a:gd name="T45" fmla="*/ 2147483647 h 215"/>
              <a:gd name="T46" fmla="*/ 2147483647 w 221"/>
              <a:gd name="T47" fmla="*/ 2147483647 h 215"/>
              <a:gd name="T48" fmla="*/ 2147483647 w 221"/>
              <a:gd name="T49" fmla="*/ 2147483647 h 215"/>
              <a:gd name="T50" fmla="*/ 0 w 221"/>
              <a:gd name="T51" fmla="*/ 2147483647 h 215"/>
              <a:gd name="T52" fmla="*/ 2147483647 w 221"/>
              <a:gd name="T53" fmla="*/ 2147483647 h 215"/>
              <a:gd name="T54" fmla="*/ 2147483647 w 221"/>
              <a:gd name="T55" fmla="*/ 2147483647 h 215"/>
              <a:gd name="T56" fmla="*/ 2147483647 w 221"/>
              <a:gd name="T57" fmla="*/ 2147483647 h 215"/>
              <a:gd name="T58" fmla="*/ 2147483647 w 221"/>
              <a:gd name="T59" fmla="*/ 2147483647 h 215"/>
              <a:gd name="T60" fmla="*/ 2147483647 w 221"/>
              <a:gd name="T61" fmla="*/ 2147483647 h 215"/>
              <a:gd name="T62" fmla="*/ 2147483647 w 221"/>
              <a:gd name="T63" fmla="*/ 2147483647 h 215"/>
              <a:gd name="T64" fmla="*/ 2147483647 w 221"/>
              <a:gd name="T65" fmla="*/ 2147483647 h 215"/>
              <a:gd name="T66" fmla="*/ 2147483647 w 221"/>
              <a:gd name="T67" fmla="*/ 2147483647 h 21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1"/>
              <a:gd name="T103" fmla="*/ 0 h 215"/>
              <a:gd name="T104" fmla="*/ 221 w 221"/>
              <a:gd name="T105" fmla="*/ 215 h 21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1" h="215">
                <a:moveTo>
                  <a:pt x="121" y="53"/>
                </a:moveTo>
                <a:lnTo>
                  <a:pt x="140" y="53"/>
                </a:lnTo>
                <a:lnTo>
                  <a:pt x="140" y="36"/>
                </a:lnTo>
                <a:lnTo>
                  <a:pt x="159" y="36"/>
                </a:lnTo>
                <a:lnTo>
                  <a:pt x="159" y="19"/>
                </a:lnTo>
                <a:lnTo>
                  <a:pt x="159" y="0"/>
                </a:lnTo>
                <a:lnTo>
                  <a:pt x="180" y="0"/>
                </a:lnTo>
                <a:lnTo>
                  <a:pt x="180" y="19"/>
                </a:lnTo>
                <a:lnTo>
                  <a:pt x="199" y="19"/>
                </a:lnTo>
                <a:lnTo>
                  <a:pt x="221" y="19"/>
                </a:lnTo>
                <a:lnTo>
                  <a:pt x="221" y="36"/>
                </a:lnTo>
                <a:lnTo>
                  <a:pt x="221" y="53"/>
                </a:lnTo>
                <a:lnTo>
                  <a:pt x="199" y="73"/>
                </a:lnTo>
                <a:lnTo>
                  <a:pt x="180" y="73"/>
                </a:lnTo>
                <a:lnTo>
                  <a:pt x="180" y="90"/>
                </a:lnTo>
                <a:lnTo>
                  <a:pt x="180" y="109"/>
                </a:lnTo>
                <a:lnTo>
                  <a:pt x="159" y="109"/>
                </a:lnTo>
                <a:lnTo>
                  <a:pt x="140" y="109"/>
                </a:lnTo>
                <a:lnTo>
                  <a:pt x="121" y="144"/>
                </a:lnTo>
                <a:lnTo>
                  <a:pt x="100" y="180"/>
                </a:lnTo>
                <a:lnTo>
                  <a:pt x="80" y="195"/>
                </a:lnTo>
                <a:lnTo>
                  <a:pt x="59" y="215"/>
                </a:lnTo>
                <a:lnTo>
                  <a:pt x="59" y="195"/>
                </a:lnTo>
                <a:lnTo>
                  <a:pt x="40" y="195"/>
                </a:lnTo>
                <a:lnTo>
                  <a:pt x="19" y="180"/>
                </a:lnTo>
                <a:lnTo>
                  <a:pt x="0" y="180"/>
                </a:lnTo>
                <a:lnTo>
                  <a:pt x="19" y="163"/>
                </a:lnTo>
                <a:lnTo>
                  <a:pt x="40" y="144"/>
                </a:lnTo>
                <a:lnTo>
                  <a:pt x="40" y="126"/>
                </a:lnTo>
                <a:lnTo>
                  <a:pt x="40" y="109"/>
                </a:lnTo>
                <a:lnTo>
                  <a:pt x="59" y="109"/>
                </a:lnTo>
                <a:lnTo>
                  <a:pt x="80" y="90"/>
                </a:lnTo>
                <a:lnTo>
                  <a:pt x="100" y="73"/>
                </a:lnTo>
                <a:lnTo>
                  <a:pt x="121" y="53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3" name="Freeform 7"/>
          <p:cNvSpPr>
            <a:spLocks/>
          </p:cNvSpPr>
          <p:nvPr/>
        </p:nvSpPr>
        <p:spPr bwMode="gray">
          <a:xfrm>
            <a:off x="7904163" y="4884738"/>
            <a:ext cx="127000" cy="168275"/>
          </a:xfrm>
          <a:custGeom>
            <a:avLst/>
            <a:gdLst>
              <a:gd name="T0" fmla="*/ 2147483647 w 183"/>
              <a:gd name="T1" fmla="*/ 2147483647 h 232"/>
              <a:gd name="T2" fmla="*/ 2147483647 w 183"/>
              <a:gd name="T3" fmla="*/ 2147483647 h 232"/>
              <a:gd name="T4" fmla="*/ 2147483647 w 183"/>
              <a:gd name="T5" fmla="*/ 2147483647 h 232"/>
              <a:gd name="T6" fmla="*/ 0 w 183"/>
              <a:gd name="T7" fmla="*/ 2147483647 h 232"/>
              <a:gd name="T8" fmla="*/ 0 w 183"/>
              <a:gd name="T9" fmla="*/ 0 h 232"/>
              <a:gd name="T10" fmla="*/ 0 w 183"/>
              <a:gd name="T11" fmla="*/ 2147483647 h 232"/>
              <a:gd name="T12" fmla="*/ 2147483647 w 183"/>
              <a:gd name="T13" fmla="*/ 2147483647 h 232"/>
              <a:gd name="T14" fmla="*/ 2147483647 w 183"/>
              <a:gd name="T15" fmla="*/ 2147483647 h 232"/>
              <a:gd name="T16" fmla="*/ 2147483647 w 183"/>
              <a:gd name="T17" fmla="*/ 2147483647 h 232"/>
              <a:gd name="T18" fmla="*/ 2147483647 w 183"/>
              <a:gd name="T19" fmla="*/ 2147483647 h 232"/>
              <a:gd name="T20" fmla="*/ 2147483647 w 183"/>
              <a:gd name="T21" fmla="*/ 2147483647 h 232"/>
              <a:gd name="T22" fmla="*/ 2147483647 w 183"/>
              <a:gd name="T23" fmla="*/ 2147483647 h 232"/>
              <a:gd name="T24" fmla="*/ 2147483647 w 183"/>
              <a:gd name="T25" fmla="*/ 2147483647 h 232"/>
              <a:gd name="T26" fmla="*/ 2147483647 w 183"/>
              <a:gd name="T27" fmla="*/ 2147483647 h 232"/>
              <a:gd name="T28" fmla="*/ 2147483647 w 183"/>
              <a:gd name="T29" fmla="*/ 2147483647 h 232"/>
              <a:gd name="T30" fmla="*/ 2147483647 w 183"/>
              <a:gd name="T31" fmla="*/ 2147483647 h 232"/>
              <a:gd name="T32" fmla="*/ 2147483647 w 183"/>
              <a:gd name="T33" fmla="*/ 2147483647 h 232"/>
              <a:gd name="T34" fmla="*/ 2147483647 w 183"/>
              <a:gd name="T35" fmla="*/ 2147483647 h 232"/>
              <a:gd name="T36" fmla="*/ 2147483647 w 183"/>
              <a:gd name="T37" fmla="*/ 2147483647 h 232"/>
              <a:gd name="T38" fmla="*/ 2147483647 w 183"/>
              <a:gd name="T39" fmla="*/ 2147483647 h 232"/>
              <a:gd name="T40" fmla="*/ 2147483647 w 183"/>
              <a:gd name="T41" fmla="*/ 2147483647 h 232"/>
              <a:gd name="T42" fmla="*/ 2147483647 w 183"/>
              <a:gd name="T43" fmla="*/ 2147483647 h 232"/>
              <a:gd name="T44" fmla="*/ 2147483647 w 183"/>
              <a:gd name="T45" fmla="*/ 2147483647 h 232"/>
              <a:gd name="T46" fmla="*/ 2147483647 w 183"/>
              <a:gd name="T47" fmla="*/ 2147483647 h 232"/>
              <a:gd name="T48" fmla="*/ 2147483647 w 183"/>
              <a:gd name="T49" fmla="*/ 2147483647 h 232"/>
              <a:gd name="T50" fmla="*/ 2147483647 w 183"/>
              <a:gd name="T51" fmla="*/ 2147483647 h 232"/>
              <a:gd name="T52" fmla="*/ 2147483647 w 183"/>
              <a:gd name="T53" fmla="*/ 2147483647 h 232"/>
              <a:gd name="T54" fmla="*/ 2147483647 w 183"/>
              <a:gd name="T55" fmla="*/ 2147483647 h 232"/>
              <a:gd name="T56" fmla="*/ 2147483647 w 183"/>
              <a:gd name="T57" fmla="*/ 2147483647 h 232"/>
              <a:gd name="T58" fmla="*/ 2147483647 w 183"/>
              <a:gd name="T59" fmla="*/ 2147483647 h 232"/>
              <a:gd name="T60" fmla="*/ 2147483647 w 183"/>
              <a:gd name="T61" fmla="*/ 2147483647 h 232"/>
              <a:gd name="T62" fmla="*/ 2147483647 w 183"/>
              <a:gd name="T63" fmla="*/ 2147483647 h 232"/>
              <a:gd name="T64" fmla="*/ 2147483647 w 183"/>
              <a:gd name="T65" fmla="*/ 2147483647 h 232"/>
              <a:gd name="T66" fmla="*/ 2147483647 w 183"/>
              <a:gd name="T67" fmla="*/ 2147483647 h 232"/>
              <a:gd name="T68" fmla="*/ 2147483647 w 183"/>
              <a:gd name="T69" fmla="*/ 2147483647 h 232"/>
              <a:gd name="T70" fmla="*/ 2147483647 w 183"/>
              <a:gd name="T71" fmla="*/ 2147483647 h 232"/>
              <a:gd name="T72" fmla="*/ 2147483647 w 183"/>
              <a:gd name="T73" fmla="*/ 2147483647 h 232"/>
              <a:gd name="T74" fmla="*/ 2147483647 w 183"/>
              <a:gd name="T75" fmla="*/ 2147483647 h 23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83"/>
              <a:gd name="T115" fmla="*/ 0 h 232"/>
              <a:gd name="T116" fmla="*/ 183 w 183"/>
              <a:gd name="T117" fmla="*/ 232 h 23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83" h="232">
                <a:moveTo>
                  <a:pt x="41" y="71"/>
                </a:moveTo>
                <a:lnTo>
                  <a:pt x="41" y="52"/>
                </a:lnTo>
                <a:lnTo>
                  <a:pt x="19" y="36"/>
                </a:lnTo>
                <a:lnTo>
                  <a:pt x="0" y="19"/>
                </a:lnTo>
                <a:lnTo>
                  <a:pt x="0" y="0"/>
                </a:lnTo>
                <a:lnTo>
                  <a:pt x="0" y="19"/>
                </a:lnTo>
                <a:lnTo>
                  <a:pt x="19" y="19"/>
                </a:lnTo>
                <a:lnTo>
                  <a:pt x="41" y="19"/>
                </a:lnTo>
                <a:lnTo>
                  <a:pt x="41" y="36"/>
                </a:lnTo>
                <a:lnTo>
                  <a:pt x="41" y="52"/>
                </a:lnTo>
                <a:lnTo>
                  <a:pt x="41" y="71"/>
                </a:lnTo>
                <a:lnTo>
                  <a:pt x="60" y="71"/>
                </a:lnTo>
                <a:lnTo>
                  <a:pt x="79" y="71"/>
                </a:lnTo>
                <a:lnTo>
                  <a:pt x="100" y="88"/>
                </a:lnTo>
                <a:lnTo>
                  <a:pt x="100" y="105"/>
                </a:lnTo>
                <a:lnTo>
                  <a:pt x="121" y="105"/>
                </a:lnTo>
                <a:lnTo>
                  <a:pt x="142" y="105"/>
                </a:lnTo>
                <a:lnTo>
                  <a:pt x="162" y="88"/>
                </a:lnTo>
                <a:lnTo>
                  <a:pt x="183" y="88"/>
                </a:lnTo>
                <a:lnTo>
                  <a:pt x="183" y="105"/>
                </a:lnTo>
                <a:lnTo>
                  <a:pt x="162" y="125"/>
                </a:lnTo>
                <a:lnTo>
                  <a:pt x="162" y="142"/>
                </a:lnTo>
                <a:lnTo>
                  <a:pt x="142" y="142"/>
                </a:lnTo>
                <a:lnTo>
                  <a:pt x="121" y="142"/>
                </a:lnTo>
                <a:lnTo>
                  <a:pt x="121" y="161"/>
                </a:lnTo>
                <a:lnTo>
                  <a:pt x="121" y="178"/>
                </a:lnTo>
                <a:lnTo>
                  <a:pt x="100" y="196"/>
                </a:lnTo>
                <a:lnTo>
                  <a:pt x="100" y="215"/>
                </a:lnTo>
                <a:lnTo>
                  <a:pt x="60" y="232"/>
                </a:lnTo>
                <a:lnTo>
                  <a:pt x="41" y="215"/>
                </a:lnTo>
                <a:lnTo>
                  <a:pt x="60" y="196"/>
                </a:lnTo>
                <a:lnTo>
                  <a:pt x="41" y="178"/>
                </a:lnTo>
                <a:lnTo>
                  <a:pt x="41" y="161"/>
                </a:lnTo>
                <a:lnTo>
                  <a:pt x="41" y="142"/>
                </a:lnTo>
                <a:lnTo>
                  <a:pt x="41" y="125"/>
                </a:lnTo>
                <a:lnTo>
                  <a:pt x="41" y="105"/>
                </a:lnTo>
                <a:lnTo>
                  <a:pt x="41" y="88"/>
                </a:lnTo>
                <a:lnTo>
                  <a:pt x="41" y="7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4" name="Freeform 8"/>
          <p:cNvSpPr>
            <a:spLocks/>
          </p:cNvSpPr>
          <p:nvPr/>
        </p:nvSpPr>
        <p:spPr bwMode="gray">
          <a:xfrm>
            <a:off x="7988300" y="4511675"/>
            <a:ext cx="42863" cy="25400"/>
          </a:xfrm>
          <a:custGeom>
            <a:avLst/>
            <a:gdLst>
              <a:gd name="T0" fmla="*/ 2147483647 w 62"/>
              <a:gd name="T1" fmla="*/ 0 h 36"/>
              <a:gd name="T2" fmla="*/ 2147483647 w 62"/>
              <a:gd name="T3" fmla="*/ 0 h 36"/>
              <a:gd name="T4" fmla="*/ 2147483647 w 62"/>
              <a:gd name="T5" fmla="*/ 2147483647 h 36"/>
              <a:gd name="T6" fmla="*/ 2147483647 w 62"/>
              <a:gd name="T7" fmla="*/ 2147483647 h 36"/>
              <a:gd name="T8" fmla="*/ 2147483647 w 62"/>
              <a:gd name="T9" fmla="*/ 2147483647 h 36"/>
              <a:gd name="T10" fmla="*/ 0 w 62"/>
              <a:gd name="T11" fmla="*/ 2147483647 h 36"/>
              <a:gd name="T12" fmla="*/ 0 w 62"/>
              <a:gd name="T13" fmla="*/ 0 h 36"/>
              <a:gd name="T14" fmla="*/ 2147483647 w 62"/>
              <a:gd name="T15" fmla="*/ 0 h 36"/>
              <a:gd name="T16" fmla="*/ 2147483647 w 62"/>
              <a:gd name="T17" fmla="*/ 0 h 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2"/>
              <a:gd name="T28" fmla="*/ 0 h 36"/>
              <a:gd name="T29" fmla="*/ 62 w 62"/>
              <a:gd name="T30" fmla="*/ 36 h 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2" h="36">
                <a:moveTo>
                  <a:pt x="41" y="0"/>
                </a:moveTo>
                <a:lnTo>
                  <a:pt x="62" y="0"/>
                </a:lnTo>
                <a:lnTo>
                  <a:pt x="62" y="19"/>
                </a:lnTo>
                <a:lnTo>
                  <a:pt x="41" y="36"/>
                </a:lnTo>
                <a:lnTo>
                  <a:pt x="21" y="36"/>
                </a:lnTo>
                <a:lnTo>
                  <a:pt x="0" y="19"/>
                </a:ln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5" name="Freeform 9"/>
          <p:cNvSpPr>
            <a:spLocks/>
          </p:cNvSpPr>
          <p:nvPr/>
        </p:nvSpPr>
        <p:spPr bwMode="gray">
          <a:xfrm>
            <a:off x="6624638" y="4383088"/>
            <a:ext cx="871537" cy="604837"/>
          </a:xfrm>
          <a:custGeom>
            <a:avLst/>
            <a:gdLst>
              <a:gd name="T0" fmla="*/ 2147483647 w 1246"/>
              <a:gd name="T1" fmla="*/ 2147483647 h 839"/>
              <a:gd name="T2" fmla="*/ 2147483647 w 1246"/>
              <a:gd name="T3" fmla="*/ 2147483647 h 839"/>
              <a:gd name="T4" fmla="*/ 2147483647 w 1246"/>
              <a:gd name="T5" fmla="*/ 2147483647 h 839"/>
              <a:gd name="T6" fmla="*/ 2147483647 w 1246"/>
              <a:gd name="T7" fmla="*/ 2147483647 h 839"/>
              <a:gd name="T8" fmla="*/ 2147483647 w 1246"/>
              <a:gd name="T9" fmla="*/ 2147483647 h 839"/>
              <a:gd name="T10" fmla="*/ 2147483647 w 1246"/>
              <a:gd name="T11" fmla="*/ 2147483647 h 839"/>
              <a:gd name="T12" fmla="*/ 2147483647 w 1246"/>
              <a:gd name="T13" fmla="*/ 2147483647 h 839"/>
              <a:gd name="T14" fmla="*/ 2147483647 w 1246"/>
              <a:gd name="T15" fmla="*/ 2147483647 h 839"/>
              <a:gd name="T16" fmla="*/ 2147483647 w 1246"/>
              <a:gd name="T17" fmla="*/ 2147483647 h 839"/>
              <a:gd name="T18" fmla="*/ 2147483647 w 1246"/>
              <a:gd name="T19" fmla="*/ 2147483647 h 839"/>
              <a:gd name="T20" fmla="*/ 2147483647 w 1246"/>
              <a:gd name="T21" fmla="*/ 2147483647 h 839"/>
              <a:gd name="T22" fmla="*/ 2147483647 w 1246"/>
              <a:gd name="T23" fmla="*/ 2147483647 h 839"/>
              <a:gd name="T24" fmla="*/ 2147483647 w 1246"/>
              <a:gd name="T25" fmla="*/ 2147483647 h 839"/>
              <a:gd name="T26" fmla="*/ 2147483647 w 1246"/>
              <a:gd name="T27" fmla="*/ 2147483647 h 839"/>
              <a:gd name="T28" fmla="*/ 2147483647 w 1246"/>
              <a:gd name="T29" fmla="*/ 2147483647 h 839"/>
              <a:gd name="T30" fmla="*/ 2147483647 w 1246"/>
              <a:gd name="T31" fmla="*/ 2147483647 h 839"/>
              <a:gd name="T32" fmla="*/ 2147483647 w 1246"/>
              <a:gd name="T33" fmla="*/ 2147483647 h 839"/>
              <a:gd name="T34" fmla="*/ 2147483647 w 1246"/>
              <a:gd name="T35" fmla="*/ 2147483647 h 839"/>
              <a:gd name="T36" fmla="*/ 2147483647 w 1246"/>
              <a:gd name="T37" fmla="*/ 2147483647 h 839"/>
              <a:gd name="T38" fmla="*/ 2147483647 w 1246"/>
              <a:gd name="T39" fmla="*/ 2147483647 h 839"/>
              <a:gd name="T40" fmla="*/ 2147483647 w 1246"/>
              <a:gd name="T41" fmla="*/ 2147483647 h 839"/>
              <a:gd name="T42" fmla="*/ 2147483647 w 1246"/>
              <a:gd name="T43" fmla="*/ 2147483647 h 839"/>
              <a:gd name="T44" fmla="*/ 2147483647 w 1246"/>
              <a:gd name="T45" fmla="*/ 2147483647 h 839"/>
              <a:gd name="T46" fmla="*/ 2147483647 w 1246"/>
              <a:gd name="T47" fmla="*/ 2147483647 h 839"/>
              <a:gd name="T48" fmla="*/ 0 w 1246"/>
              <a:gd name="T49" fmla="*/ 2147483647 h 839"/>
              <a:gd name="T50" fmla="*/ 2147483647 w 1246"/>
              <a:gd name="T51" fmla="*/ 2147483647 h 839"/>
              <a:gd name="T52" fmla="*/ 0 w 1246"/>
              <a:gd name="T53" fmla="*/ 2147483647 h 839"/>
              <a:gd name="T54" fmla="*/ 0 w 1246"/>
              <a:gd name="T55" fmla="*/ 2147483647 h 839"/>
              <a:gd name="T56" fmla="*/ 2147483647 w 1246"/>
              <a:gd name="T57" fmla="*/ 2147483647 h 839"/>
              <a:gd name="T58" fmla="*/ 2147483647 w 1246"/>
              <a:gd name="T59" fmla="*/ 2147483647 h 839"/>
              <a:gd name="T60" fmla="*/ 2147483647 w 1246"/>
              <a:gd name="T61" fmla="*/ 2147483647 h 839"/>
              <a:gd name="T62" fmla="*/ 2147483647 w 1246"/>
              <a:gd name="T63" fmla="*/ 2147483647 h 839"/>
              <a:gd name="T64" fmla="*/ 2147483647 w 1246"/>
              <a:gd name="T65" fmla="*/ 2147483647 h 839"/>
              <a:gd name="T66" fmla="*/ 2147483647 w 1246"/>
              <a:gd name="T67" fmla="*/ 2147483647 h 839"/>
              <a:gd name="T68" fmla="*/ 2147483647 w 1246"/>
              <a:gd name="T69" fmla="*/ 2147483647 h 839"/>
              <a:gd name="T70" fmla="*/ 2147483647 w 1246"/>
              <a:gd name="T71" fmla="*/ 2147483647 h 839"/>
              <a:gd name="T72" fmla="*/ 2147483647 w 1246"/>
              <a:gd name="T73" fmla="*/ 2147483647 h 839"/>
              <a:gd name="T74" fmla="*/ 2147483647 w 1246"/>
              <a:gd name="T75" fmla="*/ 2147483647 h 839"/>
              <a:gd name="T76" fmla="*/ 2147483647 w 1246"/>
              <a:gd name="T77" fmla="*/ 2147483647 h 839"/>
              <a:gd name="T78" fmla="*/ 2147483647 w 1246"/>
              <a:gd name="T79" fmla="*/ 0 h 839"/>
              <a:gd name="T80" fmla="*/ 2147483647 w 1246"/>
              <a:gd name="T81" fmla="*/ 2147483647 h 839"/>
              <a:gd name="T82" fmla="*/ 2147483647 w 1246"/>
              <a:gd name="T83" fmla="*/ 2147483647 h 839"/>
              <a:gd name="T84" fmla="*/ 2147483647 w 1246"/>
              <a:gd name="T85" fmla="*/ 2147483647 h 839"/>
              <a:gd name="T86" fmla="*/ 2147483647 w 1246"/>
              <a:gd name="T87" fmla="*/ 2147483647 h 839"/>
              <a:gd name="T88" fmla="*/ 2147483647 w 1246"/>
              <a:gd name="T89" fmla="*/ 2147483647 h 839"/>
              <a:gd name="T90" fmla="*/ 2147483647 w 1246"/>
              <a:gd name="T91" fmla="*/ 2147483647 h 839"/>
              <a:gd name="T92" fmla="*/ 2147483647 w 1246"/>
              <a:gd name="T93" fmla="*/ 2147483647 h 839"/>
              <a:gd name="T94" fmla="*/ 2147483647 w 1246"/>
              <a:gd name="T95" fmla="*/ 2147483647 h 839"/>
              <a:gd name="T96" fmla="*/ 2147483647 w 1246"/>
              <a:gd name="T97" fmla="*/ 2147483647 h 839"/>
              <a:gd name="T98" fmla="*/ 2147483647 w 1246"/>
              <a:gd name="T99" fmla="*/ 2147483647 h 839"/>
              <a:gd name="T100" fmla="*/ 2147483647 w 1246"/>
              <a:gd name="T101" fmla="*/ 2147483647 h 839"/>
              <a:gd name="T102" fmla="*/ 2147483647 w 1246"/>
              <a:gd name="T103" fmla="*/ 2147483647 h 839"/>
              <a:gd name="T104" fmla="*/ 2147483647 w 1246"/>
              <a:gd name="T105" fmla="*/ 2147483647 h 839"/>
              <a:gd name="T106" fmla="*/ 2147483647 w 1246"/>
              <a:gd name="T107" fmla="*/ 2147483647 h 839"/>
              <a:gd name="T108" fmla="*/ 2147483647 w 1246"/>
              <a:gd name="T109" fmla="*/ 2147483647 h 839"/>
              <a:gd name="T110" fmla="*/ 2147483647 w 1246"/>
              <a:gd name="T111" fmla="*/ 2147483647 h 83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246"/>
              <a:gd name="T169" fmla="*/ 0 h 839"/>
              <a:gd name="T170" fmla="*/ 1246 w 1246"/>
              <a:gd name="T171" fmla="*/ 839 h 83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246" h="839">
                <a:moveTo>
                  <a:pt x="1224" y="409"/>
                </a:moveTo>
                <a:lnTo>
                  <a:pt x="1224" y="428"/>
                </a:lnTo>
                <a:lnTo>
                  <a:pt x="1246" y="482"/>
                </a:lnTo>
                <a:lnTo>
                  <a:pt x="1246" y="516"/>
                </a:lnTo>
                <a:lnTo>
                  <a:pt x="1246" y="536"/>
                </a:lnTo>
                <a:lnTo>
                  <a:pt x="1224" y="553"/>
                </a:lnTo>
                <a:lnTo>
                  <a:pt x="1224" y="572"/>
                </a:lnTo>
                <a:lnTo>
                  <a:pt x="1224" y="589"/>
                </a:lnTo>
                <a:lnTo>
                  <a:pt x="1224" y="607"/>
                </a:lnTo>
                <a:lnTo>
                  <a:pt x="1205" y="643"/>
                </a:lnTo>
                <a:lnTo>
                  <a:pt x="1184" y="660"/>
                </a:lnTo>
                <a:lnTo>
                  <a:pt x="1165" y="680"/>
                </a:lnTo>
                <a:lnTo>
                  <a:pt x="1146" y="716"/>
                </a:lnTo>
                <a:lnTo>
                  <a:pt x="1146" y="733"/>
                </a:lnTo>
                <a:lnTo>
                  <a:pt x="1146" y="768"/>
                </a:lnTo>
                <a:lnTo>
                  <a:pt x="1105" y="802"/>
                </a:lnTo>
                <a:lnTo>
                  <a:pt x="1065" y="822"/>
                </a:lnTo>
                <a:lnTo>
                  <a:pt x="1025" y="839"/>
                </a:lnTo>
                <a:lnTo>
                  <a:pt x="985" y="822"/>
                </a:lnTo>
                <a:lnTo>
                  <a:pt x="963" y="822"/>
                </a:lnTo>
                <a:lnTo>
                  <a:pt x="942" y="822"/>
                </a:lnTo>
                <a:lnTo>
                  <a:pt x="942" y="839"/>
                </a:lnTo>
                <a:lnTo>
                  <a:pt x="883" y="839"/>
                </a:lnTo>
                <a:lnTo>
                  <a:pt x="842" y="802"/>
                </a:lnTo>
                <a:lnTo>
                  <a:pt x="823" y="768"/>
                </a:lnTo>
                <a:lnTo>
                  <a:pt x="823" y="749"/>
                </a:lnTo>
                <a:lnTo>
                  <a:pt x="802" y="733"/>
                </a:lnTo>
                <a:lnTo>
                  <a:pt x="802" y="716"/>
                </a:lnTo>
                <a:lnTo>
                  <a:pt x="802" y="733"/>
                </a:lnTo>
                <a:lnTo>
                  <a:pt x="783" y="733"/>
                </a:lnTo>
                <a:lnTo>
                  <a:pt x="764" y="733"/>
                </a:lnTo>
                <a:lnTo>
                  <a:pt x="764" y="716"/>
                </a:lnTo>
                <a:lnTo>
                  <a:pt x="764" y="697"/>
                </a:lnTo>
                <a:lnTo>
                  <a:pt x="764" y="716"/>
                </a:lnTo>
                <a:lnTo>
                  <a:pt x="743" y="716"/>
                </a:lnTo>
                <a:lnTo>
                  <a:pt x="723" y="716"/>
                </a:lnTo>
                <a:lnTo>
                  <a:pt x="743" y="697"/>
                </a:lnTo>
                <a:lnTo>
                  <a:pt x="743" y="660"/>
                </a:lnTo>
                <a:lnTo>
                  <a:pt x="743" y="643"/>
                </a:lnTo>
                <a:lnTo>
                  <a:pt x="743" y="660"/>
                </a:lnTo>
                <a:lnTo>
                  <a:pt x="702" y="697"/>
                </a:lnTo>
                <a:lnTo>
                  <a:pt x="683" y="716"/>
                </a:lnTo>
                <a:lnTo>
                  <a:pt x="683" y="697"/>
                </a:lnTo>
                <a:lnTo>
                  <a:pt x="664" y="680"/>
                </a:lnTo>
                <a:lnTo>
                  <a:pt x="643" y="660"/>
                </a:lnTo>
                <a:lnTo>
                  <a:pt x="624" y="643"/>
                </a:lnTo>
                <a:lnTo>
                  <a:pt x="603" y="626"/>
                </a:lnTo>
                <a:lnTo>
                  <a:pt x="562" y="607"/>
                </a:lnTo>
                <a:lnTo>
                  <a:pt x="524" y="607"/>
                </a:lnTo>
                <a:lnTo>
                  <a:pt x="482" y="607"/>
                </a:lnTo>
                <a:lnTo>
                  <a:pt x="460" y="626"/>
                </a:lnTo>
                <a:lnTo>
                  <a:pt x="441" y="626"/>
                </a:lnTo>
                <a:lnTo>
                  <a:pt x="382" y="643"/>
                </a:lnTo>
                <a:lnTo>
                  <a:pt x="341" y="660"/>
                </a:lnTo>
                <a:lnTo>
                  <a:pt x="320" y="680"/>
                </a:lnTo>
                <a:lnTo>
                  <a:pt x="282" y="680"/>
                </a:lnTo>
                <a:lnTo>
                  <a:pt x="242" y="680"/>
                </a:lnTo>
                <a:lnTo>
                  <a:pt x="221" y="680"/>
                </a:lnTo>
                <a:lnTo>
                  <a:pt x="182" y="697"/>
                </a:lnTo>
                <a:lnTo>
                  <a:pt x="142" y="716"/>
                </a:lnTo>
                <a:lnTo>
                  <a:pt x="121" y="716"/>
                </a:lnTo>
                <a:lnTo>
                  <a:pt x="80" y="716"/>
                </a:lnTo>
                <a:lnTo>
                  <a:pt x="61" y="697"/>
                </a:lnTo>
                <a:lnTo>
                  <a:pt x="42" y="680"/>
                </a:lnTo>
                <a:lnTo>
                  <a:pt x="42" y="660"/>
                </a:lnTo>
                <a:lnTo>
                  <a:pt x="61" y="660"/>
                </a:lnTo>
                <a:lnTo>
                  <a:pt x="80" y="643"/>
                </a:lnTo>
                <a:lnTo>
                  <a:pt x="61" y="607"/>
                </a:lnTo>
                <a:lnTo>
                  <a:pt x="61" y="589"/>
                </a:lnTo>
                <a:lnTo>
                  <a:pt x="42" y="589"/>
                </a:lnTo>
                <a:lnTo>
                  <a:pt x="21" y="536"/>
                </a:lnTo>
                <a:lnTo>
                  <a:pt x="21" y="516"/>
                </a:lnTo>
                <a:lnTo>
                  <a:pt x="21" y="482"/>
                </a:lnTo>
                <a:lnTo>
                  <a:pt x="0" y="463"/>
                </a:lnTo>
                <a:lnTo>
                  <a:pt x="0" y="445"/>
                </a:lnTo>
                <a:lnTo>
                  <a:pt x="0" y="428"/>
                </a:lnTo>
                <a:lnTo>
                  <a:pt x="0" y="445"/>
                </a:lnTo>
                <a:lnTo>
                  <a:pt x="21" y="445"/>
                </a:lnTo>
                <a:lnTo>
                  <a:pt x="21" y="428"/>
                </a:lnTo>
                <a:lnTo>
                  <a:pt x="21" y="409"/>
                </a:lnTo>
                <a:lnTo>
                  <a:pt x="0" y="409"/>
                </a:lnTo>
                <a:lnTo>
                  <a:pt x="0" y="392"/>
                </a:lnTo>
                <a:lnTo>
                  <a:pt x="0" y="357"/>
                </a:lnTo>
                <a:lnTo>
                  <a:pt x="0" y="321"/>
                </a:lnTo>
                <a:lnTo>
                  <a:pt x="21" y="321"/>
                </a:lnTo>
                <a:lnTo>
                  <a:pt x="61" y="303"/>
                </a:lnTo>
                <a:lnTo>
                  <a:pt x="80" y="303"/>
                </a:lnTo>
                <a:lnTo>
                  <a:pt x="80" y="286"/>
                </a:lnTo>
                <a:lnTo>
                  <a:pt x="121" y="286"/>
                </a:lnTo>
                <a:lnTo>
                  <a:pt x="142" y="267"/>
                </a:lnTo>
                <a:lnTo>
                  <a:pt x="201" y="267"/>
                </a:lnTo>
                <a:lnTo>
                  <a:pt x="242" y="232"/>
                </a:lnTo>
                <a:lnTo>
                  <a:pt x="282" y="213"/>
                </a:lnTo>
                <a:lnTo>
                  <a:pt x="282" y="196"/>
                </a:lnTo>
                <a:lnTo>
                  <a:pt x="282" y="177"/>
                </a:lnTo>
                <a:lnTo>
                  <a:pt x="301" y="177"/>
                </a:lnTo>
                <a:lnTo>
                  <a:pt x="301" y="159"/>
                </a:lnTo>
                <a:lnTo>
                  <a:pt x="320" y="159"/>
                </a:lnTo>
                <a:lnTo>
                  <a:pt x="341" y="159"/>
                </a:lnTo>
                <a:lnTo>
                  <a:pt x="341" y="142"/>
                </a:lnTo>
                <a:lnTo>
                  <a:pt x="341" y="123"/>
                </a:lnTo>
                <a:lnTo>
                  <a:pt x="361" y="106"/>
                </a:lnTo>
                <a:lnTo>
                  <a:pt x="382" y="106"/>
                </a:lnTo>
                <a:lnTo>
                  <a:pt x="401" y="88"/>
                </a:lnTo>
                <a:lnTo>
                  <a:pt x="422" y="88"/>
                </a:lnTo>
                <a:lnTo>
                  <a:pt x="441" y="106"/>
                </a:lnTo>
                <a:lnTo>
                  <a:pt x="441" y="123"/>
                </a:lnTo>
                <a:lnTo>
                  <a:pt x="460" y="123"/>
                </a:lnTo>
                <a:lnTo>
                  <a:pt x="482" y="123"/>
                </a:lnTo>
                <a:lnTo>
                  <a:pt x="482" y="106"/>
                </a:lnTo>
                <a:lnTo>
                  <a:pt x="482" y="88"/>
                </a:lnTo>
                <a:lnTo>
                  <a:pt x="503" y="69"/>
                </a:lnTo>
                <a:lnTo>
                  <a:pt x="524" y="52"/>
                </a:lnTo>
                <a:lnTo>
                  <a:pt x="543" y="52"/>
                </a:lnTo>
                <a:lnTo>
                  <a:pt x="562" y="52"/>
                </a:lnTo>
                <a:lnTo>
                  <a:pt x="583" y="33"/>
                </a:lnTo>
                <a:lnTo>
                  <a:pt x="603" y="33"/>
                </a:lnTo>
                <a:lnTo>
                  <a:pt x="583" y="33"/>
                </a:lnTo>
                <a:lnTo>
                  <a:pt x="583" y="17"/>
                </a:lnTo>
                <a:lnTo>
                  <a:pt x="562" y="0"/>
                </a:lnTo>
                <a:lnTo>
                  <a:pt x="603" y="17"/>
                </a:lnTo>
                <a:lnTo>
                  <a:pt x="624" y="33"/>
                </a:lnTo>
                <a:lnTo>
                  <a:pt x="683" y="33"/>
                </a:lnTo>
                <a:lnTo>
                  <a:pt x="702" y="33"/>
                </a:lnTo>
                <a:lnTo>
                  <a:pt x="723" y="52"/>
                </a:lnTo>
                <a:lnTo>
                  <a:pt x="723" y="69"/>
                </a:lnTo>
                <a:lnTo>
                  <a:pt x="702" y="69"/>
                </a:lnTo>
                <a:lnTo>
                  <a:pt x="683" y="69"/>
                </a:lnTo>
                <a:lnTo>
                  <a:pt x="683" y="106"/>
                </a:lnTo>
                <a:lnTo>
                  <a:pt x="683" y="123"/>
                </a:lnTo>
                <a:lnTo>
                  <a:pt x="702" y="123"/>
                </a:lnTo>
                <a:lnTo>
                  <a:pt x="723" y="142"/>
                </a:lnTo>
                <a:lnTo>
                  <a:pt x="743" y="159"/>
                </a:lnTo>
                <a:lnTo>
                  <a:pt x="764" y="159"/>
                </a:lnTo>
                <a:lnTo>
                  <a:pt x="783" y="177"/>
                </a:lnTo>
                <a:lnTo>
                  <a:pt x="802" y="177"/>
                </a:lnTo>
                <a:lnTo>
                  <a:pt x="823" y="196"/>
                </a:lnTo>
                <a:lnTo>
                  <a:pt x="864" y="177"/>
                </a:lnTo>
                <a:lnTo>
                  <a:pt x="883" y="142"/>
                </a:lnTo>
                <a:lnTo>
                  <a:pt x="883" y="123"/>
                </a:lnTo>
                <a:lnTo>
                  <a:pt x="883" y="88"/>
                </a:lnTo>
                <a:lnTo>
                  <a:pt x="883" y="52"/>
                </a:lnTo>
                <a:lnTo>
                  <a:pt x="883" y="33"/>
                </a:lnTo>
                <a:lnTo>
                  <a:pt x="883" y="17"/>
                </a:lnTo>
                <a:lnTo>
                  <a:pt x="883" y="0"/>
                </a:lnTo>
                <a:lnTo>
                  <a:pt x="904" y="0"/>
                </a:lnTo>
                <a:lnTo>
                  <a:pt x="923" y="17"/>
                </a:lnTo>
                <a:lnTo>
                  <a:pt x="923" y="52"/>
                </a:lnTo>
                <a:lnTo>
                  <a:pt x="942" y="69"/>
                </a:lnTo>
                <a:lnTo>
                  <a:pt x="942" y="88"/>
                </a:lnTo>
                <a:lnTo>
                  <a:pt x="942" y="106"/>
                </a:lnTo>
                <a:lnTo>
                  <a:pt x="963" y="106"/>
                </a:lnTo>
                <a:lnTo>
                  <a:pt x="985" y="106"/>
                </a:lnTo>
                <a:lnTo>
                  <a:pt x="985" y="123"/>
                </a:lnTo>
                <a:lnTo>
                  <a:pt x="1006" y="142"/>
                </a:lnTo>
                <a:lnTo>
                  <a:pt x="1006" y="159"/>
                </a:lnTo>
                <a:lnTo>
                  <a:pt x="1025" y="177"/>
                </a:lnTo>
                <a:lnTo>
                  <a:pt x="1025" y="196"/>
                </a:lnTo>
                <a:lnTo>
                  <a:pt x="1025" y="232"/>
                </a:lnTo>
                <a:lnTo>
                  <a:pt x="1046" y="232"/>
                </a:lnTo>
                <a:lnTo>
                  <a:pt x="1084" y="267"/>
                </a:lnTo>
                <a:lnTo>
                  <a:pt x="1105" y="286"/>
                </a:lnTo>
                <a:lnTo>
                  <a:pt x="1105" y="303"/>
                </a:lnTo>
                <a:lnTo>
                  <a:pt x="1125" y="303"/>
                </a:lnTo>
                <a:lnTo>
                  <a:pt x="1125" y="321"/>
                </a:lnTo>
                <a:lnTo>
                  <a:pt x="1146" y="340"/>
                </a:lnTo>
                <a:lnTo>
                  <a:pt x="1165" y="357"/>
                </a:lnTo>
                <a:lnTo>
                  <a:pt x="1205" y="392"/>
                </a:lnTo>
                <a:lnTo>
                  <a:pt x="1224" y="409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6" name="Freeform 10"/>
          <p:cNvSpPr>
            <a:spLocks/>
          </p:cNvSpPr>
          <p:nvPr/>
        </p:nvSpPr>
        <p:spPr bwMode="gray">
          <a:xfrm>
            <a:off x="7385050" y="4252913"/>
            <a:ext cx="96838" cy="38100"/>
          </a:xfrm>
          <a:custGeom>
            <a:avLst/>
            <a:gdLst>
              <a:gd name="T0" fmla="*/ 2147483647 w 140"/>
              <a:gd name="T1" fmla="*/ 2147483647 h 54"/>
              <a:gd name="T2" fmla="*/ 2147483647 w 140"/>
              <a:gd name="T3" fmla="*/ 2147483647 h 54"/>
              <a:gd name="T4" fmla="*/ 0 w 140"/>
              <a:gd name="T5" fmla="*/ 2147483647 h 54"/>
              <a:gd name="T6" fmla="*/ 2147483647 w 140"/>
              <a:gd name="T7" fmla="*/ 2147483647 h 54"/>
              <a:gd name="T8" fmla="*/ 2147483647 w 140"/>
              <a:gd name="T9" fmla="*/ 2147483647 h 54"/>
              <a:gd name="T10" fmla="*/ 2147483647 w 140"/>
              <a:gd name="T11" fmla="*/ 2147483647 h 54"/>
              <a:gd name="T12" fmla="*/ 2147483647 w 140"/>
              <a:gd name="T13" fmla="*/ 2147483647 h 54"/>
              <a:gd name="T14" fmla="*/ 2147483647 w 140"/>
              <a:gd name="T15" fmla="*/ 2147483647 h 54"/>
              <a:gd name="T16" fmla="*/ 2147483647 w 140"/>
              <a:gd name="T17" fmla="*/ 2147483647 h 54"/>
              <a:gd name="T18" fmla="*/ 2147483647 w 140"/>
              <a:gd name="T19" fmla="*/ 0 h 54"/>
              <a:gd name="T20" fmla="*/ 2147483647 w 140"/>
              <a:gd name="T21" fmla="*/ 0 h 54"/>
              <a:gd name="T22" fmla="*/ 2147483647 w 140"/>
              <a:gd name="T23" fmla="*/ 0 h 54"/>
              <a:gd name="T24" fmla="*/ 2147483647 w 140"/>
              <a:gd name="T25" fmla="*/ 2147483647 h 54"/>
              <a:gd name="T26" fmla="*/ 2147483647 w 140"/>
              <a:gd name="T27" fmla="*/ 2147483647 h 54"/>
              <a:gd name="T28" fmla="*/ 2147483647 w 140"/>
              <a:gd name="T29" fmla="*/ 2147483647 h 54"/>
              <a:gd name="T30" fmla="*/ 2147483647 w 140"/>
              <a:gd name="T31" fmla="*/ 2147483647 h 54"/>
              <a:gd name="T32" fmla="*/ 2147483647 w 140"/>
              <a:gd name="T33" fmla="*/ 2147483647 h 5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0"/>
              <a:gd name="T52" fmla="*/ 0 h 54"/>
              <a:gd name="T53" fmla="*/ 140 w 140"/>
              <a:gd name="T54" fmla="*/ 54 h 5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0" h="54">
                <a:moveTo>
                  <a:pt x="41" y="54"/>
                </a:moveTo>
                <a:lnTo>
                  <a:pt x="21" y="54"/>
                </a:lnTo>
                <a:lnTo>
                  <a:pt x="0" y="36"/>
                </a:lnTo>
                <a:lnTo>
                  <a:pt x="21" y="36"/>
                </a:lnTo>
                <a:lnTo>
                  <a:pt x="41" y="36"/>
                </a:lnTo>
                <a:lnTo>
                  <a:pt x="62" y="36"/>
                </a:lnTo>
                <a:lnTo>
                  <a:pt x="62" y="17"/>
                </a:lnTo>
                <a:lnTo>
                  <a:pt x="81" y="17"/>
                </a:lnTo>
                <a:lnTo>
                  <a:pt x="100" y="17"/>
                </a:lnTo>
                <a:lnTo>
                  <a:pt x="100" y="0"/>
                </a:lnTo>
                <a:lnTo>
                  <a:pt x="121" y="0"/>
                </a:lnTo>
                <a:lnTo>
                  <a:pt x="140" y="0"/>
                </a:lnTo>
                <a:lnTo>
                  <a:pt x="121" y="17"/>
                </a:lnTo>
                <a:lnTo>
                  <a:pt x="100" y="36"/>
                </a:lnTo>
                <a:lnTo>
                  <a:pt x="81" y="54"/>
                </a:lnTo>
                <a:lnTo>
                  <a:pt x="62" y="54"/>
                </a:lnTo>
                <a:lnTo>
                  <a:pt x="41" y="5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7" name="Freeform 11"/>
          <p:cNvSpPr>
            <a:spLocks/>
          </p:cNvSpPr>
          <p:nvPr/>
        </p:nvSpPr>
        <p:spPr bwMode="gray">
          <a:xfrm>
            <a:off x="7004050" y="4176713"/>
            <a:ext cx="436563" cy="206375"/>
          </a:xfrm>
          <a:custGeom>
            <a:avLst/>
            <a:gdLst>
              <a:gd name="T0" fmla="*/ 2147483647 w 622"/>
              <a:gd name="T1" fmla="*/ 2147483647 h 288"/>
              <a:gd name="T2" fmla="*/ 2147483647 w 622"/>
              <a:gd name="T3" fmla="*/ 2147483647 h 288"/>
              <a:gd name="T4" fmla="*/ 2147483647 w 622"/>
              <a:gd name="T5" fmla="*/ 2147483647 h 288"/>
              <a:gd name="T6" fmla="*/ 2147483647 w 622"/>
              <a:gd name="T7" fmla="*/ 2147483647 h 288"/>
              <a:gd name="T8" fmla="*/ 2147483647 w 622"/>
              <a:gd name="T9" fmla="*/ 2147483647 h 288"/>
              <a:gd name="T10" fmla="*/ 2147483647 w 622"/>
              <a:gd name="T11" fmla="*/ 2147483647 h 288"/>
              <a:gd name="T12" fmla="*/ 2147483647 w 622"/>
              <a:gd name="T13" fmla="*/ 2147483647 h 288"/>
              <a:gd name="T14" fmla="*/ 2147483647 w 622"/>
              <a:gd name="T15" fmla="*/ 2147483647 h 288"/>
              <a:gd name="T16" fmla="*/ 2147483647 w 622"/>
              <a:gd name="T17" fmla="*/ 2147483647 h 288"/>
              <a:gd name="T18" fmla="*/ 2147483647 w 622"/>
              <a:gd name="T19" fmla="*/ 2147483647 h 288"/>
              <a:gd name="T20" fmla="*/ 2147483647 w 622"/>
              <a:gd name="T21" fmla="*/ 2147483647 h 288"/>
              <a:gd name="T22" fmla="*/ 2147483647 w 622"/>
              <a:gd name="T23" fmla="*/ 2147483647 h 288"/>
              <a:gd name="T24" fmla="*/ 2147483647 w 622"/>
              <a:gd name="T25" fmla="*/ 2147483647 h 288"/>
              <a:gd name="T26" fmla="*/ 2147483647 w 622"/>
              <a:gd name="T27" fmla="*/ 2147483647 h 288"/>
              <a:gd name="T28" fmla="*/ 2147483647 w 622"/>
              <a:gd name="T29" fmla="*/ 2147483647 h 288"/>
              <a:gd name="T30" fmla="*/ 2147483647 w 622"/>
              <a:gd name="T31" fmla="*/ 2147483647 h 288"/>
              <a:gd name="T32" fmla="*/ 2147483647 w 622"/>
              <a:gd name="T33" fmla="*/ 2147483647 h 288"/>
              <a:gd name="T34" fmla="*/ 2147483647 w 622"/>
              <a:gd name="T35" fmla="*/ 2147483647 h 288"/>
              <a:gd name="T36" fmla="*/ 2147483647 w 622"/>
              <a:gd name="T37" fmla="*/ 2147483647 h 288"/>
              <a:gd name="T38" fmla="*/ 2147483647 w 622"/>
              <a:gd name="T39" fmla="*/ 2147483647 h 288"/>
              <a:gd name="T40" fmla="*/ 2147483647 w 622"/>
              <a:gd name="T41" fmla="*/ 2147483647 h 288"/>
              <a:gd name="T42" fmla="*/ 2147483647 w 622"/>
              <a:gd name="T43" fmla="*/ 2147483647 h 288"/>
              <a:gd name="T44" fmla="*/ 2147483647 w 622"/>
              <a:gd name="T45" fmla="*/ 2147483647 h 288"/>
              <a:gd name="T46" fmla="*/ 2147483647 w 622"/>
              <a:gd name="T47" fmla="*/ 2147483647 h 288"/>
              <a:gd name="T48" fmla="*/ 2147483647 w 622"/>
              <a:gd name="T49" fmla="*/ 2147483647 h 288"/>
              <a:gd name="T50" fmla="*/ 2147483647 w 622"/>
              <a:gd name="T51" fmla="*/ 2147483647 h 288"/>
              <a:gd name="T52" fmla="*/ 2147483647 w 622"/>
              <a:gd name="T53" fmla="*/ 2147483647 h 288"/>
              <a:gd name="T54" fmla="*/ 2147483647 w 622"/>
              <a:gd name="T55" fmla="*/ 2147483647 h 288"/>
              <a:gd name="T56" fmla="*/ 2147483647 w 622"/>
              <a:gd name="T57" fmla="*/ 2147483647 h 288"/>
              <a:gd name="T58" fmla="*/ 2147483647 w 622"/>
              <a:gd name="T59" fmla="*/ 2147483647 h 288"/>
              <a:gd name="T60" fmla="*/ 2147483647 w 622"/>
              <a:gd name="T61" fmla="*/ 2147483647 h 288"/>
              <a:gd name="T62" fmla="*/ 2147483647 w 622"/>
              <a:gd name="T63" fmla="*/ 2147483647 h 288"/>
              <a:gd name="T64" fmla="*/ 2147483647 w 622"/>
              <a:gd name="T65" fmla="*/ 2147483647 h 288"/>
              <a:gd name="T66" fmla="*/ 2147483647 w 622"/>
              <a:gd name="T67" fmla="*/ 2147483647 h 288"/>
              <a:gd name="T68" fmla="*/ 2147483647 w 622"/>
              <a:gd name="T69" fmla="*/ 2147483647 h 288"/>
              <a:gd name="T70" fmla="*/ 2147483647 w 622"/>
              <a:gd name="T71" fmla="*/ 2147483647 h 288"/>
              <a:gd name="T72" fmla="*/ 2147483647 w 622"/>
              <a:gd name="T73" fmla="*/ 2147483647 h 288"/>
              <a:gd name="T74" fmla="*/ 2147483647 w 622"/>
              <a:gd name="T75" fmla="*/ 2147483647 h 288"/>
              <a:gd name="T76" fmla="*/ 2147483647 w 622"/>
              <a:gd name="T77" fmla="*/ 2147483647 h 288"/>
              <a:gd name="T78" fmla="*/ 0 w 622"/>
              <a:gd name="T79" fmla="*/ 2147483647 h 288"/>
              <a:gd name="T80" fmla="*/ 2147483647 w 622"/>
              <a:gd name="T81" fmla="*/ 0 h 288"/>
              <a:gd name="T82" fmla="*/ 2147483647 w 622"/>
              <a:gd name="T83" fmla="*/ 0 h 288"/>
              <a:gd name="T84" fmla="*/ 2147483647 w 622"/>
              <a:gd name="T85" fmla="*/ 2147483647 h 288"/>
              <a:gd name="T86" fmla="*/ 2147483647 w 622"/>
              <a:gd name="T87" fmla="*/ 2147483647 h 288"/>
              <a:gd name="T88" fmla="*/ 2147483647 w 622"/>
              <a:gd name="T89" fmla="*/ 2147483647 h 288"/>
              <a:gd name="T90" fmla="*/ 2147483647 w 622"/>
              <a:gd name="T91" fmla="*/ 2147483647 h 288"/>
              <a:gd name="T92" fmla="*/ 2147483647 w 622"/>
              <a:gd name="T93" fmla="*/ 2147483647 h 288"/>
              <a:gd name="T94" fmla="*/ 2147483647 w 622"/>
              <a:gd name="T95" fmla="*/ 2147483647 h 288"/>
              <a:gd name="T96" fmla="*/ 2147483647 w 622"/>
              <a:gd name="T97" fmla="*/ 2147483647 h 288"/>
              <a:gd name="T98" fmla="*/ 2147483647 w 622"/>
              <a:gd name="T99" fmla="*/ 2147483647 h 288"/>
              <a:gd name="T100" fmla="*/ 2147483647 w 622"/>
              <a:gd name="T101" fmla="*/ 2147483647 h 28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2"/>
              <a:gd name="T154" fmla="*/ 0 h 288"/>
              <a:gd name="T155" fmla="*/ 622 w 622"/>
              <a:gd name="T156" fmla="*/ 288 h 28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2" h="288">
                <a:moveTo>
                  <a:pt x="299" y="54"/>
                </a:moveTo>
                <a:lnTo>
                  <a:pt x="340" y="54"/>
                </a:lnTo>
                <a:lnTo>
                  <a:pt x="340" y="71"/>
                </a:lnTo>
                <a:lnTo>
                  <a:pt x="380" y="71"/>
                </a:lnTo>
                <a:lnTo>
                  <a:pt x="399" y="71"/>
                </a:lnTo>
                <a:lnTo>
                  <a:pt x="399" y="91"/>
                </a:lnTo>
                <a:lnTo>
                  <a:pt x="420" y="91"/>
                </a:lnTo>
                <a:lnTo>
                  <a:pt x="420" y="108"/>
                </a:lnTo>
                <a:lnTo>
                  <a:pt x="463" y="108"/>
                </a:lnTo>
                <a:lnTo>
                  <a:pt x="482" y="125"/>
                </a:lnTo>
                <a:lnTo>
                  <a:pt x="482" y="144"/>
                </a:lnTo>
                <a:lnTo>
                  <a:pt x="503" y="144"/>
                </a:lnTo>
                <a:lnTo>
                  <a:pt x="522" y="162"/>
                </a:lnTo>
                <a:lnTo>
                  <a:pt x="541" y="162"/>
                </a:lnTo>
                <a:lnTo>
                  <a:pt x="522" y="179"/>
                </a:lnTo>
                <a:lnTo>
                  <a:pt x="503" y="179"/>
                </a:lnTo>
                <a:lnTo>
                  <a:pt x="522" y="179"/>
                </a:lnTo>
                <a:lnTo>
                  <a:pt x="522" y="198"/>
                </a:lnTo>
                <a:lnTo>
                  <a:pt x="541" y="198"/>
                </a:lnTo>
                <a:lnTo>
                  <a:pt x="541" y="215"/>
                </a:lnTo>
                <a:lnTo>
                  <a:pt x="541" y="234"/>
                </a:lnTo>
                <a:lnTo>
                  <a:pt x="562" y="234"/>
                </a:lnTo>
                <a:lnTo>
                  <a:pt x="582" y="234"/>
                </a:lnTo>
                <a:lnTo>
                  <a:pt x="582" y="252"/>
                </a:lnTo>
                <a:lnTo>
                  <a:pt x="603" y="252"/>
                </a:lnTo>
                <a:lnTo>
                  <a:pt x="603" y="269"/>
                </a:lnTo>
                <a:lnTo>
                  <a:pt x="622" y="269"/>
                </a:lnTo>
                <a:lnTo>
                  <a:pt x="603" y="269"/>
                </a:lnTo>
                <a:lnTo>
                  <a:pt x="603" y="288"/>
                </a:lnTo>
                <a:lnTo>
                  <a:pt x="582" y="288"/>
                </a:lnTo>
                <a:lnTo>
                  <a:pt x="582" y="269"/>
                </a:lnTo>
                <a:lnTo>
                  <a:pt x="562" y="269"/>
                </a:lnTo>
                <a:lnTo>
                  <a:pt x="541" y="269"/>
                </a:lnTo>
                <a:lnTo>
                  <a:pt x="522" y="252"/>
                </a:lnTo>
                <a:lnTo>
                  <a:pt x="503" y="234"/>
                </a:lnTo>
                <a:lnTo>
                  <a:pt x="482" y="234"/>
                </a:lnTo>
                <a:lnTo>
                  <a:pt x="463" y="198"/>
                </a:lnTo>
                <a:lnTo>
                  <a:pt x="420" y="198"/>
                </a:lnTo>
                <a:lnTo>
                  <a:pt x="399" y="198"/>
                </a:lnTo>
                <a:lnTo>
                  <a:pt x="399" y="215"/>
                </a:lnTo>
                <a:lnTo>
                  <a:pt x="380" y="215"/>
                </a:lnTo>
                <a:lnTo>
                  <a:pt x="380" y="234"/>
                </a:lnTo>
                <a:lnTo>
                  <a:pt x="361" y="234"/>
                </a:lnTo>
                <a:lnTo>
                  <a:pt x="340" y="234"/>
                </a:lnTo>
                <a:lnTo>
                  <a:pt x="321" y="234"/>
                </a:lnTo>
                <a:lnTo>
                  <a:pt x="280" y="215"/>
                </a:lnTo>
                <a:lnTo>
                  <a:pt x="259" y="215"/>
                </a:lnTo>
                <a:lnTo>
                  <a:pt x="240" y="215"/>
                </a:lnTo>
                <a:lnTo>
                  <a:pt x="221" y="215"/>
                </a:lnTo>
                <a:lnTo>
                  <a:pt x="200" y="215"/>
                </a:lnTo>
                <a:lnTo>
                  <a:pt x="221" y="198"/>
                </a:lnTo>
                <a:lnTo>
                  <a:pt x="240" y="179"/>
                </a:lnTo>
                <a:lnTo>
                  <a:pt x="221" y="179"/>
                </a:lnTo>
                <a:lnTo>
                  <a:pt x="221" y="162"/>
                </a:lnTo>
                <a:lnTo>
                  <a:pt x="221" y="144"/>
                </a:lnTo>
                <a:lnTo>
                  <a:pt x="200" y="125"/>
                </a:lnTo>
                <a:lnTo>
                  <a:pt x="180" y="108"/>
                </a:lnTo>
                <a:lnTo>
                  <a:pt x="159" y="108"/>
                </a:lnTo>
                <a:lnTo>
                  <a:pt x="140" y="108"/>
                </a:lnTo>
                <a:lnTo>
                  <a:pt x="121" y="108"/>
                </a:lnTo>
                <a:lnTo>
                  <a:pt x="100" y="108"/>
                </a:lnTo>
                <a:lnTo>
                  <a:pt x="100" y="91"/>
                </a:lnTo>
                <a:lnTo>
                  <a:pt x="81" y="91"/>
                </a:lnTo>
                <a:lnTo>
                  <a:pt x="81" y="71"/>
                </a:lnTo>
                <a:lnTo>
                  <a:pt x="81" y="91"/>
                </a:lnTo>
                <a:lnTo>
                  <a:pt x="81" y="108"/>
                </a:lnTo>
                <a:lnTo>
                  <a:pt x="60" y="108"/>
                </a:lnTo>
                <a:lnTo>
                  <a:pt x="60" y="91"/>
                </a:lnTo>
                <a:lnTo>
                  <a:pt x="60" y="71"/>
                </a:lnTo>
                <a:lnTo>
                  <a:pt x="40" y="71"/>
                </a:lnTo>
                <a:lnTo>
                  <a:pt x="40" y="54"/>
                </a:lnTo>
                <a:lnTo>
                  <a:pt x="19" y="54"/>
                </a:lnTo>
                <a:lnTo>
                  <a:pt x="60" y="54"/>
                </a:lnTo>
                <a:lnTo>
                  <a:pt x="81" y="54"/>
                </a:lnTo>
                <a:lnTo>
                  <a:pt x="60" y="54"/>
                </a:lnTo>
                <a:lnTo>
                  <a:pt x="40" y="54"/>
                </a:lnTo>
                <a:lnTo>
                  <a:pt x="19" y="54"/>
                </a:lnTo>
                <a:lnTo>
                  <a:pt x="19" y="35"/>
                </a:lnTo>
                <a:lnTo>
                  <a:pt x="0" y="35"/>
                </a:lnTo>
                <a:lnTo>
                  <a:pt x="0" y="18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lnTo>
                  <a:pt x="81" y="0"/>
                </a:lnTo>
                <a:lnTo>
                  <a:pt x="100" y="0"/>
                </a:lnTo>
                <a:lnTo>
                  <a:pt x="100" y="18"/>
                </a:lnTo>
                <a:lnTo>
                  <a:pt x="100" y="35"/>
                </a:lnTo>
                <a:lnTo>
                  <a:pt x="100" y="54"/>
                </a:lnTo>
                <a:lnTo>
                  <a:pt x="121" y="54"/>
                </a:lnTo>
                <a:lnTo>
                  <a:pt x="140" y="71"/>
                </a:lnTo>
                <a:lnTo>
                  <a:pt x="140" y="54"/>
                </a:lnTo>
                <a:lnTo>
                  <a:pt x="159" y="54"/>
                </a:lnTo>
                <a:lnTo>
                  <a:pt x="180" y="54"/>
                </a:lnTo>
                <a:lnTo>
                  <a:pt x="200" y="35"/>
                </a:lnTo>
                <a:lnTo>
                  <a:pt x="221" y="18"/>
                </a:lnTo>
                <a:lnTo>
                  <a:pt x="221" y="35"/>
                </a:lnTo>
                <a:lnTo>
                  <a:pt x="240" y="35"/>
                </a:lnTo>
                <a:lnTo>
                  <a:pt x="259" y="54"/>
                </a:lnTo>
                <a:lnTo>
                  <a:pt x="280" y="54"/>
                </a:lnTo>
                <a:lnTo>
                  <a:pt x="299" y="54"/>
                </a:lnTo>
                <a:lnTo>
                  <a:pt x="321" y="54"/>
                </a:lnTo>
                <a:lnTo>
                  <a:pt x="299" y="54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8" name="Freeform 12"/>
          <p:cNvSpPr>
            <a:spLocks/>
          </p:cNvSpPr>
          <p:nvPr/>
        </p:nvSpPr>
        <p:spPr bwMode="gray">
          <a:xfrm>
            <a:off x="7440613" y="4214813"/>
            <a:ext cx="55562" cy="38100"/>
          </a:xfrm>
          <a:custGeom>
            <a:avLst/>
            <a:gdLst>
              <a:gd name="T0" fmla="*/ 2147483647 w 81"/>
              <a:gd name="T1" fmla="*/ 2147483647 h 54"/>
              <a:gd name="T2" fmla="*/ 2147483647 w 81"/>
              <a:gd name="T3" fmla="*/ 2147483647 h 54"/>
              <a:gd name="T4" fmla="*/ 2147483647 w 81"/>
              <a:gd name="T5" fmla="*/ 2147483647 h 54"/>
              <a:gd name="T6" fmla="*/ 2147483647 w 81"/>
              <a:gd name="T7" fmla="*/ 0 h 54"/>
              <a:gd name="T8" fmla="*/ 2147483647 w 81"/>
              <a:gd name="T9" fmla="*/ 0 h 54"/>
              <a:gd name="T10" fmla="*/ 0 w 81"/>
              <a:gd name="T11" fmla="*/ 0 h 54"/>
              <a:gd name="T12" fmla="*/ 2147483647 w 81"/>
              <a:gd name="T13" fmla="*/ 0 h 54"/>
              <a:gd name="T14" fmla="*/ 2147483647 w 81"/>
              <a:gd name="T15" fmla="*/ 2147483647 h 54"/>
              <a:gd name="T16" fmla="*/ 2147483647 w 81"/>
              <a:gd name="T17" fmla="*/ 2147483647 h 54"/>
              <a:gd name="T18" fmla="*/ 2147483647 w 81"/>
              <a:gd name="T19" fmla="*/ 2147483647 h 54"/>
              <a:gd name="T20" fmla="*/ 2147483647 w 81"/>
              <a:gd name="T21" fmla="*/ 2147483647 h 5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1"/>
              <a:gd name="T34" fmla="*/ 0 h 54"/>
              <a:gd name="T35" fmla="*/ 81 w 81"/>
              <a:gd name="T36" fmla="*/ 54 h 5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1" h="54">
                <a:moveTo>
                  <a:pt x="59" y="54"/>
                </a:moveTo>
                <a:lnTo>
                  <a:pt x="59" y="37"/>
                </a:lnTo>
                <a:lnTo>
                  <a:pt x="40" y="17"/>
                </a:lnTo>
                <a:lnTo>
                  <a:pt x="40" y="0"/>
                </a:lnTo>
                <a:lnTo>
                  <a:pt x="19" y="0"/>
                </a:lnTo>
                <a:lnTo>
                  <a:pt x="0" y="0"/>
                </a:lnTo>
                <a:lnTo>
                  <a:pt x="40" y="0"/>
                </a:lnTo>
                <a:lnTo>
                  <a:pt x="40" y="17"/>
                </a:lnTo>
                <a:lnTo>
                  <a:pt x="59" y="37"/>
                </a:lnTo>
                <a:lnTo>
                  <a:pt x="81" y="54"/>
                </a:lnTo>
                <a:lnTo>
                  <a:pt x="59" y="5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09" name="Freeform 13"/>
          <p:cNvSpPr>
            <a:spLocks/>
          </p:cNvSpPr>
          <p:nvPr/>
        </p:nvSpPr>
        <p:spPr bwMode="gray">
          <a:xfrm>
            <a:off x="7524750" y="4265613"/>
            <a:ext cx="28575" cy="38100"/>
          </a:xfrm>
          <a:custGeom>
            <a:avLst/>
            <a:gdLst>
              <a:gd name="T0" fmla="*/ 2147483647 w 38"/>
              <a:gd name="T1" fmla="*/ 2147483647 h 54"/>
              <a:gd name="T2" fmla="*/ 0 w 38"/>
              <a:gd name="T3" fmla="*/ 2147483647 h 54"/>
              <a:gd name="T4" fmla="*/ 0 w 38"/>
              <a:gd name="T5" fmla="*/ 2147483647 h 54"/>
              <a:gd name="T6" fmla="*/ 0 w 38"/>
              <a:gd name="T7" fmla="*/ 0 h 54"/>
              <a:gd name="T8" fmla="*/ 0 w 38"/>
              <a:gd name="T9" fmla="*/ 2147483647 h 54"/>
              <a:gd name="T10" fmla="*/ 2147483647 w 38"/>
              <a:gd name="T11" fmla="*/ 2147483647 h 54"/>
              <a:gd name="T12" fmla="*/ 2147483647 w 38"/>
              <a:gd name="T13" fmla="*/ 2147483647 h 54"/>
              <a:gd name="T14" fmla="*/ 2147483647 w 38"/>
              <a:gd name="T15" fmla="*/ 2147483647 h 54"/>
              <a:gd name="T16" fmla="*/ 2147483647 w 38"/>
              <a:gd name="T17" fmla="*/ 2147483647 h 54"/>
              <a:gd name="T18" fmla="*/ 2147483647 w 38"/>
              <a:gd name="T19" fmla="*/ 2147483647 h 5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8"/>
              <a:gd name="T31" fmla="*/ 0 h 54"/>
              <a:gd name="T32" fmla="*/ 38 w 38"/>
              <a:gd name="T33" fmla="*/ 54 h 5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8" h="54">
                <a:moveTo>
                  <a:pt x="19" y="37"/>
                </a:moveTo>
                <a:lnTo>
                  <a:pt x="0" y="37"/>
                </a:lnTo>
                <a:lnTo>
                  <a:pt x="0" y="19"/>
                </a:lnTo>
                <a:lnTo>
                  <a:pt x="0" y="0"/>
                </a:lnTo>
                <a:lnTo>
                  <a:pt x="0" y="19"/>
                </a:lnTo>
                <a:lnTo>
                  <a:pt x="19" y="37"/>
                </a:lnTo>
                <a:lnTo>
                  <a:pt x="38" y="37"/>
                </a:lnTo>
                <a:lnTo>
                  <a:pt x="38" y="54"/>
                </a:lnTo>
                <a:lnTo>
                  <a:pt x="19" y="54"/>
                </a:lnTo>
                <a:lnTo>
                  <a:pt x="19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0" name="Freeform 14"/>
          <p:cNvSpPr>
            <a:spLocks/>
          </p:cNvSpPr>
          <p:nvPr/>
        </p:nvSpPr>
        <p:spPr bwMode="gray">
          <a:xfrm>
            <a:off x="7697788" y="4327525"/>
            <a:ext cx="28575" cy="12700"/>
          </a:xfrm>
          <a:custGeom>
            <a:avLst/>
            <a:gdLst>
              <a:gd name="T0" fmla="*/ 2147483647 w 41"/>
              <a:gd name="T1" fmla="*/ 2147483647 h 19"/>
              <a:gd name="T2" fmla="*/ 2147483647 w 41"/>
              <a:gd name="T3" fmla="*/ 2147483647 h 19"/>
              <a:gd name="T4" fmla="*/ 0 w 41"/>
              <a:gd name="T5" fmla="*/ 0 h 19"/>
              <a:gd name="T6" fmla="*/ 2147483647 w 41"/>
              <a:gd name="T7" fmla="*/ 0 h 19"/>
              <a:gd name="T8" fmla="*/ 2147483647 w 41"/>
              <a:gd name="T9" fmla="*/ 2147483647 h 19"/>
              <a:gd name="T10" fmla="*/ 2147483647 w 41"/>
              <a:gd name="T11" fmla="*/ 2147483647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1"/>
              <a:gd name="T19" fmla="*/ 0 h 19"/>
              <a:gd name="T20" fmla="*/ 41 w 41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1" h="19">
                <a:moveTo>
                  <a:pt x="41" y="19"/>
                </a:moveTo>
                <a:lnTo>
                  <a:pt x="20" y="19"/>
                </a:lnTo>
                <a:lnTo>
                  <a:pt x="0" y="0"/>
                </a:lnTo>
                <a:lnTo>
                  <a:pt x="20" y="0"/>
                </a:lnTo>
                <a:lnTo>
                  <a:pt x="20" y="19"/>
                </a:lnTo>
                <a:lnTo>
                  <a:pt x="41" y="19"/>
                </a:lnTo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1" name="Freeform 15"/>
          <p:cNvSpPr>
            <a:spLocks/>
          </p:cNvSpPr>
          <p:nvPr/>
        </p:nvSpPr>
        <p:spPr bwMode="gray">
          <a:xfrm>
            <a:off x="7669213" y="4314825"/>
            <a:ext cx="28575" cy="12700"/>
          </a:xfrm>
          <a:custGeom>
            <a:avLst/>
            <a:gdLst>
              <a:gd name="T0" fmla="*/ 2147483647 w 42"/>
              <a:gd name="T1" fmla="*/ 2147483647 h 17"/>
              <a:gd name="T2" fmla="*/ 2147483647 w 42"/>
              <a:gd name="T3" fmla="*/ 2147483647 h 17"/>
              <a:gd name="T4" fmla="*/ 2147483647 w 42"/>
              <a:gd name="T5" fmla="*/ 0 h 17"/>
              <a:gd name="T6" fmla="*/ 0 w 42"/>
              <a:gd name="T7" fmla="*/ 0 h 17"/>
              <a:gd name="T8" fmla="*/ 2147483647 w 42"/>
              <a:gd name="T9" fmla="*/ 0 h 17"/>
              <a:gd name="T10" fmla="*/ 2147483647 w 42"/>
              <a:gd name="T11" fmla="*/ 0 h 17"/>
              <a:gd name="T12" fmla="*/ 2147483647 w 42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17"/>
              <a:gd name="T23" fmla="*/ 42 w 42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17">
                <a:moveTo>
                  <a:pt x="42" y="17"/>
                </a:moveTo>
                <a:lnTo>
                  <a:pt x="21" y="17"/>
                </a:lnTo>
                <a:lnTo>
                  <a:pt x="21" y="0"/>
                </a:ln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2" name="Freeform 16"/>
          <p:cNvSpPr>
            <a:spLocks/>
          </p:cNvSpPr>
          <p:nvPr/>
        </p:nvSpPr>
        <p:spPr bwMode="gray">
          <a:xfrm>
            <a:off x="7683500" y="4286250"/>
            <a:ext cx="14288" cy="14288"/>
          </a:xfrm>
          <a:custGeom>
            <a:avLst/>
            <a:gdLst>
              <a:gd name="T0" fmla="*/ 2147483647 w 21"/>
              <a:gd name="T1" fmla="*/ 2147483647 h 19"/>
              <a:gd name="T2" fmla="*/ 0 w 21"/>
              <a:gd name="T3" fmla="*/ 2147483647 h 19"/>
              <a:gd name="T4" fmla="*/ 0 w 21"/>
              <a:gd name="T5" fmla="*/ 0 h 19"/>
              <a:gd name="T6" fmla="*/ 2147483647 w 21"/>
              <a:gd name="T7" fmla="*/ 2147483647 h 19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19"/>
              <a:gd name="T14" fmla="*/ 21 w 21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19">
                <a:moveTo>
                  <a:pt x="21" y="19"/>
                </a:moveTo>
                <a:lnTo>
                  <a:pt x="0" y="19"/>
                </a:lnTo>
                <a:lnTo>
                  <a:pt x="0" y="0"/>
                </a:lnTo>
                <a:lnTo>
                  <a:pt x="21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3" name="Freeform 17"/>
          <p:cNvSpPr>
            <a:spLocks/>
          </p:cNvSpPr>
          <p:nvPr/>
        </p:nvSpPr>
        <p:spPr bwMode="gray">
          <a:xfrm>
            <a:off x="7627938" y="4260850"/>
            <a:ext cx="25400" cy="25400"/>
          </a:xfrm>
          <a:custGeom>
            <a:avLst/>
            <a:gdLst>
              <a:gd name="T0" fmla="*/ 2147483647 w 38"/>
              <a:gd name="T1" fmla="*/ 0 h 36"/>
              <a:gd name="T2" fmla="*/ 2147483647 w 38"/>
              <a:gd name="T3" fmla="*/ 2147483647 h 36"/>
              <a:gd name="T4" fmla="*/ 2147483647 w 38"/>
              <a:gd name="T5" fmla="*/ 2147483647 h 36"/>
              <a:gd name="T6" fmla="*/ 2147483647 w 38"/>
              <a:gd name="T7" fmla="*/ 2147483647 h 36"/>
              <a:gd name="T8" fmla="*/ 0 w 38"/>
              <a:gd name="T9" fmla="*/ 2147483647 h 36"/>
              <a:gd name="T10" fmla="*/ 2147483647 w 38"/>
              <a:gd name="T11" fmla="*/ 2147483647 h 36"/>
              <a:gd name="T12" fmla="*/ 2147483647 w 38"/>
              <a:gd name="T13" fmla="*/ 0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8"/>
              <a:gd name="T22" fmla="*/ 0 h 36"/>
              <a:gd name="T23" fmla="*/ 38 w 38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8" h="36">
                <a:moveTo>
                  <a:pt x="19" y="0"/>
                </a:moveTo>
                <a:lnTo>
                  <a:pt x="38" y="19"/>
                </a:lnTo>
                <a:lnTo>
                  <a:pt x="38" y="36"/>
                </a:lnTo>
                <a:lnTo>
                  <a:pt x="19" y="19"/>
                </a:lnTo>
                <a:lnTo>
                  <a:pt x="0" y="19"/>
                </a:lnTo>
                <a:lnTo>
                  <a:pt x="19" y="19"/>
                </a:lnTo>
                <a:lnTo>
                  <a:pt x="19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4" name="Freeform 18"/>
          <p:cNvSpPr>
            <a:spLocks/>
          </p:cNvSpPr>
          <p:nvPr/>
        </p:nvSpPr>
        <p:spPr bwMode="gray">
          <a:xfrm>
            <a:off x="7566025" y="4303713"/>
            <a:ext cx="14288" cy="0"/>
          </a:xfrm>
          <a:custGeom>
            <a:avLst/>
            <a:gdLst>
              <a:gd name="T0" fmla="*/ 0 w 20"/>
              <a:gd name="T1" fmla="*/ 2147483647 w 20"/>
              <a:gd name="T2" fmla="*/ 0 w 20"/>
              <a:gd name="T3" fmla="*/ 0 60000 65536"/>
              <a:gd name="T4" fmla="*/ 0 60000 65536"/>
              <a:gd name="T5" fmla="*/ 0 60000 65536"/>
              <a:gd name="T6" fmla="*/ 0 w 20"/>
              <a:gd name="T7" fmla="*/ 20 w 20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20">
                <a:moveTo>
                  <a:pt x="0" y="0"/>
                </a:moveTo>
                <a:lnTo>
                  <a:pt x="20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5" name="Freeform 19"/>
          <p:cNvSpPr>
            <a:spLocks/>
          </p:cNvSpPr>
          <p:nvPr/>
        </p:nvSpPr>
        <p:spPr bwMode="gray">
          <a:xfrm>
            <a:off x="5908675" y="3970338"/>
            <a:ext cx="41275" cy="76200"/>
          </a:xfrm>
          <a:custGeom>
            <a:avLst/>
            <a:gdLst>
              <a:gd name="T0" fmla="*/ 2147483647 w 61"/>
              <a:gd name="T1" fmla="*/ 2147483647 h 108"/>
              <a:gd name="T2" fmla="*/ 2147483647 w 61"/>
              <a:gd name="T3" fmla="*/ 2147483647 h 108"/>
              <a:gd name="T4" fmla="*/ 2147483647 w 61"/>
              <a:gd name="T5" fmla="*/ 2147483647 h 108"/>
              <a:gd name="T6" fmla="*/ 0 w 61"/>
              <a:gd name="T7" fmla="*/ 2147483647 h 108"/>
              <a:gd name="T8" fmla="*/ 0 w 61"/>
              <a:gd name="T9" fmla="*/ 2147483647 h 108"/>
              <a:gd name="T10" fmla="*/ 0 w 61"/>
              <a:gd name="T11" fmla="*/ 2147483647 h 108"/>
              <a:gd name="T12" fmla="*/ 0 w 61"/>
              <a:gd name="T13" fmla="*/ 2147483647 h 108"/>
              <a:gd name="T14" fmla="*/ 0 w 61"/>
              <a:gd name="T15" fmla="*/ 0 h 108"/>
              <a:gd name="T16" fmla="*/ 2147483647 w 61"/>
              <a:gd name="T17" fmla="*/ 2147483647 h 108"/>
              <a:gd name="T18" fmla="*/ 2147483647 w 61"/>
              <a:gd name="T19" fmla="*/ 2147483647 h 108"/>
              <a:gd name="T20" fmla="*/ 2147483647 w 61"/>
              <a:gd name="T21" fmla="*/ 2147483647 h 1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1"/>
              <a:gd name="T34" fmla="*/ 0 h 108"/>
              <a:gd name="T35" fmla="*/ 61 w 61"/>
              <a:gd name="T36" fmla="*/ 108 h 1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1" h="108">
                <a:moveTo>
                  <a:pt x="61" y="71"/>
                </a:moveTo>
                <a:lnTo>
                  <a:pt x="40" y="91"/>
                </a:lnTo>
                <a:lnTo>
                  <a:pt x="40" y="108"/>
                </a:lnTo>
                <a:lnTo>
                  <a:pt x="0" y="108"/>
                </a:lnTo>
                <a:lnTo>
                  <a:pt x="0" y="91"/>
                </a:lnTo>
                <a:lnTo>
                  <a:pt x="0" y="54"/>
                </a:lnTo>
                <a:lnTo>
                  <a:pt x="0" y="35"/>
                </a:lnTo>
                <a:lnTo>
                  <a:pt x="0" y="0"/>
                </a:lnTo>
                <a:lnTo>
                  <a:pt x="21" y="18"/>
                </a:lnTo>
                <a:lnTo>
                  <a:pt x="40" y="35"/>
                </a:lnTo>
                <a:lnTo>
                  <a:pt x="61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6" name="Freeform 20"/>
          <p:cNvSpPr>
            <a:spLocks/>
          </p:cNvSpPr>
          <p:nvPr/>
        </p:nvSpPr>
        <p:spPr bwMode="gray">
          <a:xfrm>
            <a:off x="6218238" y="4046538"/>
            <a:ext cx="239712" cy="233362"/>
          </a:xfrm>
          <a:custGeom>
            <a:avLst/>
            <a:gdLst>
              <a:gd name="T0" fmla="*/ 2147483647 w 344"/>
              <a:gd name="T1" fmla="*/ 2147483647 h 322"/>
              <a:gd name="T2" fmla="*/ 2147483647 w 344"/>
              <a:gd name="T3" fmla="*/ 2147483647 h 322"/>
              <a:gd name="T4" fmla="*/ 2147483647 w 344"/>
              <a:gd name="T5" fmla="*/ 2147483647 h 322"/>
              <a:gd name="T6" fmla="*/ 2147483647 w 344"/>
              <a:gd name="T7" fmla="*/ 2147483647 h 322"/>
              <a:gd name="T8" fmla="*/ 2147483647 w 344"/>
              <a:gd name="T9" fmla="*/ 2147483647 h 322"/>
              <a:gd name="T10" fmla="*/ 2147483647 w 344"/>
              <a:gd name="T11" fmla="*/ 2147483647 h 322"/>
              <a:gd name="T12" fmla="*/ 2147483647 w 344"/>
              <a:gd name="T13" fmla="*/ 2147483647 h 322"/>
              <a:gd name="T14" fmla="*/ 2147483647 w 344"/>
              <a:gd name="T15" fmla="*/ 2147483647 h 322"/>
              <a:gd name="T16" fmla="*/ 2147483647 w 344"/>
              <a:gd name="T17" fmla="*/ 2147483647 h 322"/>
              <a:gd name="T18" fmla="*/ 2147483647 w 344"/>
              <a:gd name="T19" fmla="*/ 2147483647 h 322"/>
              <a:gd name="T20" fmla="*/ 2147483647 w 344"/>
              <a:gd name="T21" fmla="*/ 2147483647 h 322"/>
              <a:gd name="T22" fmla="*/ 2147483647 w 344"/>
              <a:gd name="T23" fmla="*/ 2147483647 h 322"/>
              <a:gd name="T24" fmla="*/ 2147483647 w 344"/>
              <a:gd name="T25" fmla="*/ 2147483647 h 322"/>
              <a:gd name="T26" fmla="*/ 2147483647 w 344"/>
              <a:gd name="T27" fmla="*/ 2147483647 h 322"/>
              <a:gd name="T28" fmla="*/ 0 w 344"/>
              <a:gd name="T29" fmla="*/ 2147483647 h 322"/>
              <a:gd name="T30" fmla="*/ 0 w 344"/>
              <a:gd name="T31" fmla="*/ 0 h 322"/>
              <a:gd name="T32" fmla="*/ 2147483647 w 344"/>
              <a:gd name="T33" fmla="*/ 0 h 322"/>
              <a:gd name="T34" fmla="*/ 2147483647 w 344"/>
              <a:gd name="T35" fmla="*/ 0 h 322"/>
              <a:gd name="T36" fmla="*/ 2147483647 w 344"/>
              <a:gd name="T37" fmla="*/ 2147483647 h 322"/>
              <a:gd name="T38" fmla="*/ 2147483647 w 344"/>
              <a:gd name="T39" fmla="*/ 2147483647 h 322"/>
              <a:gd name="T40" fmla="*/ 2147483647 w 344"/>
              <a:gd name="T41" fmla="*/ 2147483647 h 322"/>
              <a:gd name="T42" fmla="*/ 2147483647 w 344"/>
              <a:gd name="T43" fmla="*/ 2147483647 h 322"/>
              <a:gd name="T44" fmla="*/ 2147483647 w 344"/>
              <a:gd name="T45" fmla="*/ 2147483647 h 322"/>
              <a:gd name="T46" fmla="*/ 2147483647 w 344"/>
              <a:gd name="T47" fmla="*/ 2147483647 h 322"/>
              <a:gd name="T48" fmla="*/ 2147483647 w 344"/>
              <a:gd name="T49" fmla="*/ 2147483647 h 322"/>
              <a:gd name="T50" fmla="*/ 2147483647 w 344"/>
              <a:gd name="T51" fmla="*/ 2147483647 h 322"/>
              <a:gd name="T52" fmla="*/ 2147483647 w 344"/>
              <a:gd name="T53" fmla="*/ 2147483647 h 322"/>
              <a:gd name="T54" fmla="*/ 2147483647 w 344"/>
              <a:gd name="T55" fmla="*/ 2147483647 h 322"/>
              <a:gd name="T56" fmla="*/ 2147483647 w 344"/>
              <a:gd name="T57" fmla="*/ 2147483647 h 322"/>
              <a:gd name="T58" fmla="*/ 2147483647 w 344"/>
              <a:gd name="T59" fmla="*/ 2147483647 h 322"/>
              <a:gd name="T60" fmla="*/ 2147483647 w 344"/>
              <a:gd name="T61" fmla="*/ 2147483647 h 322"/>
              <a:gd name="T62" fmla="*/ 2147483647 w 344"/>
              <a:gd name="T63" fmla="*/ 2147483647 h 322"/>
              <a:gd name="T64" fmla="*/ 2147483647 w 344"/>
              <a:gd name="T65" fmla="*/ 2147483647 h 322"/>
              <a:gd name="T66" fmla="*/ 2147483647 w 344"/>
              <a:gd name="T67" fmla="*/ 2147483647 h 322"/>
              <a:gd name="T68" fmla="*/ 2147483647 w 344"/>
              <a:gd name="T69" fmla="*/ 2147483647 h 322"/>
              <a:gd name="T70" fmla="*/ 2147483647 w 344"/>
              <a:gd name="T71" fmla="*/ 2147483647 h 322"/>
              <a:gd name="T72" fmla="*/ 2147483647 w 344"/>
              <a:gd name="T73" fmla="*/ 2147483647 h 322"/>
              <a:gd name="T74" fmla="*/ 2147483647 w 344"/>
              <a:gd name="T75" fmla="*/ 2147483647 h 322"/>
              <a:gd name="T76" fmla="*/ 2147483647 w 344"/>
              <a:gd name="T77" fmla="*/ 2147483647 h 322"/>
              <a:gd name="T78" fmla="*/ 2147483647 w 344"/>
              <a:gd name="T79" fmla="*/ 2147483647 h 322"/>
              <a:gd name="T80" fmla="*/ 2147483647 w 344"/>
              <a:gd name="T81" fmla="*/ 2147483647 h 322"/>
              <a:gd name="T82" fmla="*/ 2147483647 w 344"/>
              <a:gd name="T83" fmla="*/ 2147483647 h 322"/>
              <a:gd name="T84" fmla="*/ 2147483647 w 344"/>
              <a:gd name="T85" fmla="*/ 2147483647 h 322"/>
              <a:gd name="T86" fmla="*/ 2147483647 w 344"/>
              <a:gd name="T87" fmla="*/ 2147483647 h 322"/>
              <a:gd name="T88" fmla="*/ 2147483647 w 344"/>
              <a:gd name="T89" fmla="*/ 2147483647 h 322"/>
              <a:gd name="T90" fmla="*/ 2147483647 w 344"/>
              <a:gd name="T91" fmla="*/ 2147483647 h 322"/>
              <a:gd name="T92" fmla="*/ 2147483647 w 344"/>
              <a:gd name="T93" fmla="*/ 2147483647 h 322"/>
              <a:gd name="T94" fmla="*/ 2147483647 w 344"/>
              <a:gd name="T95" fmla="*/ 2147483647 h 322"/>
              <a:gd name="T96" fmla="*/ 2147483647 w 344"/>
              <a:gd name="T97" fmla="*/ 2147483647 h 322"/>
              <a:gd name="T98" fmla="*/ 2147483647 w 344"/>
              <a:gd name="T99" fmla="*/ 2147483647 h 322"/>
              <a:gd name="T100" fmla="*/ 2147483647 w 344"/>
              <a:gd name="T101" fmla="*/ 2147483647 h 322"/>
              <a:gd name="T102" fmla="*/ 2147483647 w 344"/>
              <a:gd name="T103" fmla="*/ 2147483647 h 322"/>
              <a:gd name="T104" fmla="*/ 2147483647 w 344"/>
              <a:gd name="T105" fmla="*/ 2147483647 h 322"/>
              <a:gd name="T106" fmla="*/ 2147483647 w 344"/>
              <a:gd name="T107" fmla="*/ 2147483647 h 322"/>
              <a:gd name="T108" fmla="*/ 2147483647 w 344"/>
              <a:gd name="T109" fmla="*/ 2147483647 h 322"/>
              <a:gd name="T110" fmla="*/ 2147483647 w 344"/>
              <a:gd name="T111" fmla="*/ 2147483647 h 322"/>
              <a:gd name="T112" fmla="*/ 2147483647 w 344"/>
              <a:gd name="T113" fmla="*/ 2147483647 h 32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4"/>
              <a:gd name="T172" fmla="*/ 0 h 322"/>
              <a:gd name="T173" fmla="*/ 344 w 344"/>
              <a:gd name="T174" fmla="*/ 322 h 32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4" h="322">
                <a:moveTo>
                  <a:pt x="161" y="178"/>
                </a:moveTo>
                <a:lnTo>
                  <a:pt x="161" y="159"/>
                </a:lnTo>
                <a:lnTo>
                  <a:pt x="142" y="159"/>
                </a:lnTo>
                <a:lnTo>
                  <a:pt x="142" y="126"/>
                </a:lnTo>
                <a:lnTo>
                  <a:pt x="121" y="126"/>
                </a:lnTo>
                <a:lnTo>
                  <a:pt x="121" y="107"/>
                </a:lnTo>
                <a:lnTo>
                  <a:pt x="100" y="107"/>
                </a:lnTo>
                <a:lnTo>
                  <a:pt x="79" y="90"/>
                </a:lnTo>
                <a:lnTo>
                  <a:pt x="60" y="90"/>
                </a:lnTo>
                <a:lnTo>
                  <a:pt x="60" y="71"/>
                </a:lnTo>
                <a:lnTo>
                  <a:pt x="60" y="54"/>
                </a:lnTo>
                <a:lnTo>
                  <a:pt x="40" y="54"/>
                </a:lnTo>
                <a:lnTo>
                  <a:pt x="19" y="54"/>
                </a:lnTo>
                <a:lnTo>
                  <a:pt x="19" y="36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lnTo>
                  <a:pt x="40" y="17"/>
                </a:lnTo>
                <a:lnTo>
                  <a:pt x="60" y="17"/>
                </a:lnTo>
                <a:lnTo>
                  <a:pt x="100" y="17"/>
                </a:lnTo>
                <a:lnTo>
                  <a:pt x="100" y="36"/>
                </a:lnTo>
                <a:lnTo>
                  <a:pt x="121" y="54"/>
                </a:lnTo>
                <a:lnTo>
                  <a:pt x="142" y="54"/>
                </a:lnTo>
                <a:lnTo>
                  <a:pt x="142" y="71"/>
                </a:lnTo>
                <a:lnTo>
                  <a:pt x="161" y="90"/>
                </a:lnTo>
                <a:lnTo>
                  <a:pt x="183" y="107"/>
                </a:lnTo>
                <a:lnTo>
                  <a:pt x="202" y="107"/>
                </a:lnTo>
                <a:lnTo>
                  <a:pt x="223" y="126"/>
                </a:lnTo>
                <a:lnTo>
                  <a:pt x="242" y="126"/>
                </a:lnTo>
                <a:lnTo>
                  <a:pt x="263" y="142"/>
                </a:lnTo>
                <a:lnTo>
                  <a:pt x="263" y="159"/>
                </a:lnTo>
                <a:lnTo>
                  <a:pt x="282" y="159"/>
                </a:lnTo>
                <a:lnTo>
                  <a:pt x="263" y="178"/>
                </a:lnTo>
                <a:lnTo>
                  <a:pt x="282" y="178"/>
                </a:lnTo>
                <a:lnTo>
                  <a:pt x="303" y="178"/>
                </a:lnTo>
                <a:lnTo>
                  <a:pt x="303" y="196"/>
                </a:lnTo>
                <a:lnTo>
                  <a:pt x="303" y="213"/>
                </a:lnTo>
                <a:lnTo>
                  <a:pt x="323" y="232"/>
                </a:lnTo>
                <a:lnTo>
                  <a:pt x="344" y="232"/>
                </a:lnTo>
                <a:lnTo>
                  <a:pt x="344" y="249"/>
                </a:lnTo>
                <a:lnTo>
                  <a:pt x="344" y="269"/>
                </a:lnTo>
                <a:lnTo>
                  <a:pt x="344" y="286"/>
                </a:lnTo>
                <a:lnTo>
                  <a:pt x="344" y="303"/>
                </a:lnTo>
                <a:lnTo>
                  <a:pt x="344" y="322"/>
                </a:lnTo>
                <a:lnTo>
                  <a:pt x="323" y="322"/>
                </a:lnTo>
                <a:lnTo>
                  <a:pt x="303" y="322"/>
                </a:lnTo>
                <a:lnTo>
                  <a:pt x="282" y="303"/>
                </a:lnTo>
                <a:lnTo>
                  <a:pt x="282" y="286"/>
                </a:lnTo>
                <a:lnTo>
                  <a:pt x="263" y="286"/>
                </a:lnTo>
                <a:lnTo>
                  <a:pt x="242" y="269"/>
                </a:lnTo>
                <a:lnTo>
                  <a:pt x="223" y="249"/>
                </a:lnTo>
                <a:lnTo>
                  <a:pt x="202" y="232"/>
                </a:lnTo>
                <a:lnTo>
                  <a:pt x="202" y="213"/>
                </a:lnTo>
                <a:lnTo>
                  <a:pt x="183" y="196"/>
                </a:lnTo>
                <a:lnTo>
                  <a:pt x="183" y="178"/>
                </a:lnTo>
                <a:lnTo>
                  <a:pt x="161" y="178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7" name="Freeform 21"/>
          <p:cNvSpPr>
            <a:spLocks/>
          </p:cNvSpPr>
          <p:nvPr/>
        </p:nvSpPr>
        <p:spPr bwMode="gray">
          <a:xfrm>
            <a:off x="6527800" y="4021138"/>
            <a:ext cx="211138" cy="231775"/>
          </a:xfrm>
          <a:custGeom>
            <a:avLst/>
            <a:gdLst>
              <a:gd name="T0" fmla="*/ 2147483647 w 301"/>
              <a:gd name="T1" fmla="*/ 2147483647 h 323"/>
              <a:gd name="T2" fmla="*/ 2147483647 w 301"/>
              <a:gd name="T3" fmla="*/ 2147483647 h 323"/>
              <a:gd name="T4" fmla="*/ 2147483647 w 301"/>
              <a:gd name="T5" fmla="*/ 2147483647 h 323"/>
              <a:gd name="T6" fmla="*/ 2147483647 w 301"/>
              <a:gd name="T7" fmla="*/ 2147483647 h 323"/>
              <a:gd name="T8" fmla="*/ 2147483647 w 301"/>
              <a:gd name="T9" fmla="*/ 2147483647 h 323"/>
              <a:gd name="T10" fmla="*/ 2147483647 w 301"/>
              <a:gd name="T11" fmla="*/ 2147483647 h 323"/>
              <a:gd name="T12" fmla="*/ 2147483647 w 301"/>
              <a:gd name="T13" fmla="*/ 2147483647 h 323"/>
              <a:gd name="T14" fmla="*/ 0 w 301"/>
              <a:gd name="T15" fmla="*/ 2147483647 h 323"/>
              <a:gd name="T16" fmla="*/ 0 w 301"/>
              <a:gd name="T17" fmla="*/ 2147483647 h 323"/>
              <a:gd name="T18" fmla="*/ 0 w 301"/>
              <a:gd name="T19" fmla="*/ 2147483647 h 323"/>
              <a:gd name="T20" fmla="*/ 0 w 301"/>
              <a:gd name="T21" fmla="*/ 2147483647 h 323"/>
              <a:gd name="T22" fmla="*/ 2147483647 w 301"/>
              <a:gd name="T23" fmla="*/ 2147483647 h 323"/>
              <a:gd name="T24" fmla="*/ 2147483647 w 301"/>
              <a:gd name="T25" fmla="*/ 2147483647 h 323"/>
              <a:gd name="T26" fmla="*/ 2147483647 w 301"/>
              <a:gd name="T27" fmla="*/ 2147483647 h 323"/>
              <a:gd name="T28" fmla="*/ 2147483647 w 301"/>
              <a:gd name="T29" fmla="*/ 2147483647 h 323"/>
              <a:gd name="T30" fmla="*/ 2147483647 w 301"/>
              <a:gd name="T31" fmla="*/ 2147483647 h 323"/>
              <a:gd name="T32" fmla="*/ 2147483647 w 301"/>
              <a:gd name="T33" fmla="*/ 2147483647 h 323"/>
              <a:gd name="T34" fmla="*/ 2147483647 w 301"/>
              <a:gd name="T35" fmla="*/ 2147483647 h 323"/>
              <a:gd name="T36" fmla="*/ 2147483647 w 301"/>
              <a:gd name="T37" fmla="*/ 2147483647 h 323"/>
              <a:gd name="T38" fmla="*/ 2147483647 w 301"/>
              <a:gd name="T39" fmla="*/ 2147483647 h 323"/>
              <a:gd name="T40" fmla="*/ 2147483647 w 301"/>
              <a:gd name="T41" fmla="*/ 2147483647 h 323"/>
              <a:gd name="T42" fmla="*/ 2147483647 w 301"/>
              <a:gd name="T43" fmla="*/ 2147483647 h 323"/>
              <a:gd name="T44" fmla="*/ 2147483647 w 301"/>
              <a:gd name="T45" fmla="*/ 2147483647 h 323"/>
              <a:gd name="T46" fmla="*/ 2147483647 w 301"/>
              <a:gd name="T47" fmla="*/ 2147483647 h 323"/>
              <a:gd name="T48" fmla="*/ 2147483647 w 301"/>
              <a:gd name="T49" fmla="*/ 2147483647 h 323"/>
              <a:gd name="T50" fmla="*/ 2147483647 w 301"/>
              <a:gd name="T51" fmla="*/ 2147483647 h 323"/>
              <a:gd name="T52" fmla="*/ 2147483647 w 301"/>
              <a:gd name="T53" fmla="*/ 0 h 323"/>
              <a:gd name="T54" fmla="*/ 2147483647 w 301"/>
              <a:gd name="T55" fmla="*/ 0 h 323"/>
              <a:gd name="T56" fmla="*/ 2147483647 w 301"/>
              <a:gd name="T57" fmla="*/ 2147483647 h 323"/>
              <a:gd name="T58" fmla="*/ 2147483647 w 301"/>
              <a:gd name="T59" fmla="*/ 2147483647 h 323"/>
              <a:gd name="T60" fmla="*/ 2147483647 w 301"/>
              <a:gd name="T61" fmla="*/ 2147483647 h 323"/>
              <a:gd name="T62" fmla="*/ 2147483647 w 301"/>
              <a:gd name="T63" fmla="*/ 2147483647 h 323"/>
              <a:gd name="T64" fmla="*/ 2147483647 w 301"/>
              <a:gd name="T65" fmla="*/ 2147483647 h 323"/>
              <a:gd name="T66" fmla="*/ 2147483647 w 301"/>
              <a:gd name="T67" fmla="*/ 2147483647 h 323"/>
              <a:gd name="T68" fmla="*/ 2147483647 w 301"/>
              <a:gd name="T69" fmla="*/ 2147483647 h 323"/>
              <a:gd name="T70" fmla="*/ 2147483647 w 301"/>
              <a:gd name="T71" fmla="*/ 2147483647 h 323"/>
              <a:gd name="T72" fmla="*/ 2147483647 w 301"/>
              <a:gd name="T73" fmla="*/ 2147483647 h 323"/>
              <a:gd name="T74" fmla="*/ 2147483647 w 301"/>
              <a:gd name="T75" fmla="*/ 2147483647 h 323"/>
              <a:gd name="T76" fmla="*/ 2147483647 w 301"/>
              <a:gd name="T77" fmla="*/ 2147483647 h 323"/>
              <a:gd name="T78" fmla="*/ 2147483647 w 301"/>
              <a:gd name="T79" fmla="*/ 2147483647 h 323"/>
              <a:gd name="T80" fmla="*/ 2147483647 w 301"/>
              <a:gd name="T81" fmla="*/ 2147483647 h 323"/>
              <a:gd name="T82" fmla="*/ 2147483647 w 301"/>
              <a:gd name="T83" fmla="*/ 2147483647 h 323"/>
              <a:gd name="T84" fmla="*/ 2147483647 w 301"/>
              <a:gd name="T85" fmla="*/ 2147483647 h 323"/>
              <a:gd name="T86" fmla="*/ 2147483647 w 301"/>
              <a:gd name="T87" fmla="*/ 2147483647 h 323"/>
              <a:gd name="T88" fmla="*/ 2147483647 w 301"/>
              <a:gd name="T89" fmla="*/ 2147483647 h 323"/>
              <a:gd name="T90" fmla="*/ 2147483647 w 301"/>
              <a:gd name="T91" fmla="*/ 2147483647 h 323"/>
              <a:gd name="T92" fmla="*/ 2147483647 w 301"/>
              <a:gd name="T93" fmla="*/ 2147483647 h 323"/>
              <a:gd name="T94" fmla="*/ 2147483647 w 301"/>
              <a:gd name="T95" fmla="*/ 2147483647 h 323"/>
              <a:gd name="T96" fmla="*/ 2147483647 w 301"/>
              <a:gd name="T97" fmla="*/ 2147483647 h 323"/>
              <a:gd name="T98" fmla="*/ 2147483647 w 301"/>
              <a:gd name="T99" fmla="*/ 2147483647 h 323"/>
              <a:gd name="T100" fmla="*/ 2147483647 w 301"/>
              <a:gd name="T101" fmla="*/ 2147483647 h 323"/>
              <a:gd name="T102" fmla="*/ 2147483647 w 301"/>
              <a:gd name="T103" fmla="*/ 2147483647 h 323"/>
              <a:gd name="T104" fmla="*/ 2147483647 w 301"/>
              <a:gd name="T105" fmla="*/ 2147483647 h 323"/>
              <a:gd name="T106" fmla="*/ 2147483647 w 301"/>
              <a:gd name="T107" fmla="*/ 2147483647 h 323"/>
              <a:gd name="T108" fmla="*/ 2147483647 w 301"/>
              <a:gd name="T109" fmla="*/ 2147483647 h 323"/>
              <a:gd name="T110" fmla="*/ 2147483647 w 301"/>
              <a:gd name="T111" fmla="*/ 2147483647 h 323"/>
              <a:gd name="T112" fmla="*/ 2147483647 w 301"/>
              <a:gd name="T113" fmla="*/ 2147483647 h 323"/>
              <a:gd name="T114" fmla="*/ 2147483647 w 301"/>
              <a:gd name="T115" fmla="*/ 2147483647 h 32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1"/>
              <a:gd name="T175" fmla="*/ 0 h 323"/>
              <a:gd name="T176" fmla="*/ 301 w 301"/>
              <a:gd name="T177" fmla="*/ 323 h 32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1" h="323">
                <a:moveTo>
                  <a:pt x="78" y="286"/>
                </a:moveTo>
                <a:lnTo>
                  <a:pt x="78" y="269"/>
                </a:lnTo>
                <a:lnTo>
                  <a:pt x="59" y="269"/>
                </a:lnTo>
                <a:lnTo>
                  <a:pt x="40" y="269"/>
                </a:lnTo>
                <a:lnTo>
                  <a:pt x="19" y="250"/>
                </a:lnTo>
                <a:lnTo>
                  <a:pt x="19" y="233"/>
                </a:lnTo>
                <a:lnTo>
                  <a:pt x="19" y="215"/>
                </a:lnTo>
                <a:lnTo>
                  <a:pt x="0" y="215"/>
                </a:lnTo>
                <a:lnTo>
                  <a:pt x="0" y="196"/>
                </a:lnTo>
                <a:lnTo>
                  <a:pt x="0" y="179"/>
                </a:lnTo>
                <a:lnTo>
                  <a:pt x="0" y="163"/>
                </a:lnTo>
                <a:lnTo>
                  <a:pt x="19" y="163"/>
                </a:lnTo>
                <a:lnTo>
                  <a:pt x="59" y="163"/>
                </a:lnTo>
                <a:lnTo>
                  <a:pt x="78" y="144"/>
                </a:lnTo>
                <a:lnTo>
                  <a:pt x="78" y="127"/>
                </a:lnTo>
                <a:lnTo>
                  <a:pt x="78" y="108"/>
                </a:lnTo>
                <a:lnTo>
                  <a:pt x="99" y="108"/>
                </a:lnTo>
                <a:lnTo>
                  <a:pt x="119" y="108"/>
                </a:lnTo>
                <a:lnTo>
                  <a:pt x="119" y="91"/>
                </a:lnTo>
                <a:lnTo>
                  <a:pt x="140" y="91"/>
                </a:lnTo>
                <a:lnTo>
                  <a:pt x="161" y="91"/>
                </a:lnTo>
                <a:lnTo>
                  <a:pt x="161" y="73"/>
                </a:lnTo>
                <a:lnTo>
                  <a:pt x="182" y="54"/>
                </a:lnTo>
                <a:lnTo>
                  <a:pt x="201" y="54"/>
                </a:lnTo>
                <a:lnTo>
                  <a:pt x="220" y="37"/>
                </a:lnTo>
                <a:lnTo>
                  <a:pt x="220" y="20"/>
                </a:lnTo>
                <a:lnTo>
                  <a:pt x="241" y="0"/>
                </a:lnTo>
                <a:lnTo>
                  <a:pt x="261" y="0"/>
                </a:lnTo>
                <a:lnTo>
                  <a:pt x="261" y="20"/>
                </a:lnTo>
                <a:lnTo>
                  <a:pt x="261" y="37"/>
                </a:lnTo>
                <a:lnTo>
                  <a:pt x="282" y="37"/>
                </a:lnTo>
                <a:lnTo>
                  <a:pt x="301" y="37"/>
                </a:lnTo>
                <a:lnTo>
                  <a:pt x="301" y="54"/>
                </a:lnTo>
                <a:lnTo>
                  <a:pt x="282" y="73"/>
                </a:lnTo>
                <a:lnTo>
                  <a:pt x="282" y="91"/>
                </a:lnTo>
                <a:lnTo>
                  <a:pt x="261" y="91"/>
                </a:lnTo>
                <a:lnTo>
                  <a:pt x="261" y="127"/>
                </a:lnTo>
                <a:lnTo>
                  <a:pt x="282" y="144"/>
                </a:lnTo>
                <a:lnTo>
                  <a:pt x="301" y="163"/>
                </a:lnTo>
                <a:lnTo>
                  <a:pt x="301" y="179"/>
                </a:lnTo>
                <a:lnTo>
                  <a:pt x="282" y="179"/>
                </a:lnTo>
                <a:lnTo>
                  <a:pt x="261" y="179"/>
                </a:lnTo>
                <a:lnTo>
                  <a:pt x="261" y="196"/>
                </a:lnTo>
                <a:lnTo>
                  <a:pt x="261" y="215"/>
                </a:lnTo>
                <a:lnTo>
                  <a:pt x="241" y="233"/>
                </a:lnTo>
                <a:lnTo>
                  <a:pt x="220" y="250"/>
                </a:lnTo>
                <a:lnTo>
                  <a:pt x="220" y="269"/>
                </a:lnTo>
                <a:lnTo>
                  <a:pt x="220" y="286"/>
                </a:lnTo>
                <a:lnTo>
                  <a:pt x="220" y="306"/>
                </a:lnTo>
                <a:lnTo>
                  <a:pt x="201" y="323"/>
                </a:lnTo>
                <a:lnTo>
                  <a:pt x="182" y="323"/>
                </a:lnTo>
                <a:lnTo>
                  <a:pt x="161" y="306"/>
                </a:lnTo>
                <a:lnTo>
                  <a:pt x="161" y="286"/>
                </a:lnTo>
                <a:lnTo>
                  <a:pt x="140" y="286"/>
                </a:lnTo>
                <a:lnTo>
                  <a:pt x="119" y="286"/>
                </a:lnTo>
                <a:lnTo>
                  <a:pt x="99" y="286"/>
                </a:lnTo>
                <a:lnTo>
                  <a:pt x="78" y="306"/>
                </a:lnTo>
                <a:lnTo>
                  <a:pt x="78" y="28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8" name="Freeform 22"/>
          <p:cNvSpPr>
            <a:spLocks/>
          </p:cNvSpPr>
          <p:nvPr/>
        </p:nvSpPr>
        <p:spPr bwMode="gray">
          <a:xfrm>
            <a:off x="6457950" y="4279900"/>
            <a:ext cx="211138" cy="65088"/>
          </a:xfrm>
          <a:custGeom>
            <a:avLst/>
            <a:gdLst>
              <a:gd name="T0" fmla="*/ 2147483647 w 301"/>
              <a:gd name="T1" fmla="*/ 2147483647 h 90"/>
              <a:gd name="T2" fmla="*/ 2147483647 w 301"/>
              <a:gd name="T3" fmla="*/ 2147483647 h 90"/>
              <a:gd name="T4" fmla="*/ 2147483647 w 301"/>
              <a:gd name="T5" fmla="*/ 2147483647 h 90"/>
              <a:gd name="T6" fmla="*/ 2147483647 w 301"/>
              <a:gd name="T7" fmla="*/ 2147483647 h 90"/>
              <a:gd name="T8" fmla="*/ 2147483647 w 301"/>
              <a:gd name="T9" fmla="*/ 2147483647 h 90"/>
              <a:gd name="T10" fmla="*/ 2147483647 w 301"/>
              <a:gd name="T11" fmla="*/ 2147483647 h 90"/>
              <a:gd name="T12" fmla="*/ 2147483647 w 301"/>
              <a:gd name="T13" fmla="*/ 2147483647 h 90"/>
              <a:gd name="T14" fmla="*/ 2147483647 w 301"/>
              <a:gd name="T15" fmla="*/ 2147483647 h 90"/>
              <a:gd name="T16" fmla="*/ 2147483647 w 301"/>
              <a:gd name="T17" fmla="*/ 2147483647 h 90"/>
              <a:gd name="T18" fmla="*/ 2147483647 w 301"/>
              <a:gd name="T19" fmla="*/ 2147483647 h 90"/>
              <a:gd name="T20" fmla="*/ 2147483647 w 301"/>
              <a:gd name="T21" fmla="*/ 2147483647 h 90"/>
              <a:gd name="T22" fmla="*/ 2147483647 w 301"/>
              <a:gd name="T23" fmla="*/ 2147483647 h 90"/>
              <a:gd name="T24" fmla="*/ 2147483647 w 301"/>
              <a:gd name="T25" fmla="*/ 2147483647 h 90"/>
              <a:gd name="T26" fmla="*/ 0 w 301"/>
              <a:gd name="T27" fmla="*/ 2147483647 h 90"/>
              <a:gd name="T28" fmla="*/ 0 w 301"/>
              <a:gd name="T29" fmla="*/ 2147483647 h 90"/>
              <a:gd name="T30" fmla="*/ 2147483647 w 301"/>
              <a:gd name="T31" fmla="*/ 0 h 90"/>
              <a:gd name="T32" fmla="*/ 2147483647 w 301"/>
              <a:gd name="T33" fmla="*/ 2147483647 h 90"/>
              <a:gd name="T34" fmla="*/ 2147483647 w 301"/>
              <a:gd name="T35" fmla="*/ 2147483647 h 90"/>
              <a:gd name="T36" fmla="*/ 2147483647 w 301"/>
              <a:gd name="T37" fmla="*/ 0 h 90"/>
              <a:gd name="T38" fmla="*/ 2147483647 w 301"/>
              <a:gd name="T39" fmla="*/ 2147483647 h 90"/>
              <a:gd name="T40" fmla="*/ 2147483647 w 301"/>
              <a:gd name="T41" fmla="*/ 2147483647 h 90"/>
              <a:gd name="T42" fmla="*/ 2147483647 w 301"/>
              <a:gd name="T43" fmla="*/ 2147483647 h 90"/>
              <a:gd name="T44" fmla="*/ 2147483647 w 301"/>
              <a:gd name="T45" fmla="*/ 2147483647 h 90"/>
              <a:gd name="T46" fmla="*/ 2147483647 w 301"/>
              <a:gd name="T47" fmla="*/ 2147483647 h 90"/>
              <a:gd name="T48" fmla="*/ 2147483647 w 301"/>
              <a:gd name="T49" fmla="*/ 2147483647 h 90"/>
              <a:gd name="T50" fmla="*/ 2147483647 w 301"/>
              <a:gd name="T51" fmla="*/ 2147483647 h 90"/>
              <a:gd name="T52" fmla="*/ 2147483647 w 301"/>
              <a:gd name="T53" fmla="*/ 2147483647 h 90"/>
              <a:gd name="T54" fmla="*/ 2147483647 w 301"/>
              <a:gd name="T55" fmla="*/ 2147483647 h 90"/>
              <a:gd name="T56" fmla="*/ 2147483647 w 301"/>
              <a:gd name="T57" fmla="*/ 2147483647 h 90"/>
              <a:gd name="T58" fmla="*/ 2147483647 w 301"/>
              <a:gd name="T59" fmla="*/ 2147483647 h 90"/>
              <a:gd name="T60" fmla="*/ 2147483647 w 301"/>
              <a:gd name="T61" fmla="*/ 2147483647 h 90"/>
              <a:gd name="T62" fmla="*/ 2147483647 w 301"/>
              <a:gd name="T63" fmla="*/ 2147483647 h 90"/>
              <a:gd name="T64" fmla="*/ 2147483647 w 301"/>
              <a:gd name="T65" fmla="*/ 2147483647 h 90"/>
              <a:gd name="T66" fmla="*/ 2147483647 w 301"/>
              <a:gd name="T67" fmla="*/ 2147483647 h 90"/>
              <a:gd name="T68" fmla="*/ 2147483647 w 301"/>
              <a:gd name="T69" fmla="*/ 2147483647 h 90"/>
              <a:gd name="T70" fmla="*/ 2147483647 w 301"/>
              <a:gd name="T71" fmla="*/ 2147483647 h 90"/>
              <a:gd name="T72" fmla="*/ 2147483647 w 301"/>
              <a:gd name="T73" fmla="*/ 2147483647 h 90"/>
              <a:gd name="T74" fmla="*/ 2147483647 w 301"/>
              <a:gd name="T75" fmla="*/ 2147483647 h 90"/>
              <a:gd name="T76" fmla="*/ 2147483647 w 301"/>
              <a:gd name="T77" fmla="*/ 2147483647 h 9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01"/>
              <a:gd name="T118" fmla="*/ 0 h 90"/>
              <a:gd name="T119" fmla="*/ 301 w 301"/>
              <a:gd name="T120" fmla="*/ 90 h 9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01" h="90">
                <a:moveTo>
                  <a:pt x="301" y="90"/>
                </a:moveTo>
                <a:lnTo>
                  <a:pt x="282" y="90"/>
                </a:lnTo>
                <a:lnTo>
                  <a:pt x="261" y="90"/>
                </a:lnTo>
                <a:lnTo>
                  <a:pt x="240" y="90"/>
                </a:lnTo>
                <a:lnTo>
                  <a:pt x="178" y="71"/>
                </a:lnTo>
                <a:lnTo>
                  <a:pt x="159" y="71"/>
                </a:lnTo>
                <a:lnTo>
                  <a:pt x="140" y="71"/>
                </a:lnTo>
                <a:lnTo>
                  <a:pt x="119" y="71"/>
                </a:lnTo>
                <a:lnTo>
                  <a:pt x="119" y="54"/>
                </a:lnTo>
                <a:lnTo>
                  <a:pt x="79" y="54"/>
                </a:lnTo>
                <a:lnTo>
                  <a:pt x="59" y="54"/>
                </a:lnTo>
                <a:lnTo>
                  <a:pt x="40" y="54"/>
                </a:lnTo>
                <a:lnTo>
                  <a:pt x="19" y="35"/>
                </a:lnTo>
                <a:lnTo>
                  <a:pt x="0" y="35"/>
                </a:lnTo>
                <a:lnTo>
                  <a:pt x="0" y="18"/>
                </a:lnTo>
                <a:lnTo>
                  <a:pt x="19" y="0"/>
                </a:lnTo>
                <a:lnTo>
                  <a:pt x="19" y="18"/>
                </a:lnTo>
                <a:lnTo>
                  <a:pt x="40" y="18"/>
                </a:lnTo>
                <a:lnTo>
                  <a:pt x="40" y="0"/>
                </a:lnTo>
                <a:lnTo>
                  <a:pt x="59" y="18"/>
                </a:lnTo>
                <a:lnTo>
                  <a:pt x="100" y="35"/>
                </a:lnTo>
                <a:lnTo>
                  <a:pt x="119" y="35"/>
                </a:lnTo>
                <a:lnTo>
                  <a:pt x="140" y="35"/>
                </a:lnTo>
                <a:lnTo>
                  <a:pt x="159" y="18"/>
                </a:lnTo>
                <a:lnTo>
                  <a:pt x="178" y="35"/>
                </a:lnTo>
                <a:lnTo>
                  <a:pt x="199" y="35"/>
                </a:lnTo>
                <a:lnTo>
                  <a:pt x="219" y="35"/>
                </a:lnTo>
                <a:lnTo>
                  <a:pt x="240" y="35"/>
                </a:lnTo>
                <a:lnTo>
                  <a:pt x="261" y="35"/>
                </a:lnTo>
                <a:lnTo>
                  <a:pt x="240" y="35"/>
                </a:lnTo>
                <a:lnTo>
                  <a:pt x="219" y="35"/>
                </a:lnTo>
                <a:lnTo>
                  <a:pt x="199" y="35"/>
                </a:lnTo>
                <a:lnTo>
                  <a:pt x="219" y="54"/>
                </a:lnTo>
                <a:lnTo>
                  <a:pt x="240" y="54"/>
                </a:lnTo>
                <a:lnTo>
                  <a:pt x="261" y="54"/>
                </a:lnTo>
                <a:lnTo>
                  <a:pt x="261" y="71"/>
                </a:lnTo>
                <a:lnTo>
                  <a:pt x="282" y="71"/>
                </a:lnTo>
                <a:lnTo>
                  <a:pt x="301" y="71"/>
                </a:lnTo>
                <a:lnTo>
                  <a:pt x="301" y="9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19" name="Freeform 23"/>
          <p:cNvSpPr>
            <a:spLocks/>
          </p:cNvSpPr>
          <p:nvPr/>
        </p:nvSpPr>
        <p:spPr bwMode="gray">
          <a:xfrm>
            <a:off x="6764338" y="4330700"/>
            <a:ext cx="57150" cy="14288"/>
          </a:xfrm>
          <a:custGeom>
            <a:avLst/>
            <a:gdLst>
              <a:gd name="T0" fmla="*/ 2147483647 w 81"/>
              <a:gd name="T1" fmla="*/ 2147483647 h 19"/>
              <a:gd name="T2" fmla="*/ 2147483647 w 81"/>
              <a:gd name="T3" fmla="*/ 2147483647 h 19"/>
              <a:gd name="T4" fmla="*/ 2147483647 w 81"/>
              <a:gd name="T5" fmla="*/ 2147483647 h 19"/>
              <a:gd name="T6" fmla="*/ 0 w 81"/>
              <a:gd name="T7" fmla="*/ 2147483647 h 19"/>
              <a:gd name="T8" fmla="*/ 0 w 81"/>
              <a:gd name="T9" fmla="*/ 0 h 19"/>
              <a:gd name="T10" fmla="*/ 2147483647 w 81"/>
              <a:gd name="T11" fmla="*/ 0 h 19"/>
              <a:gd name="T12" fmla="*/ 2147483647 w 81"/>
              <a:gd name="T13" fmla="*/ 2147483647 h 19"/>
              <a:gd name="T14" fmla="*/ 2147483647 w 81"/>
              <a:gd name="T15" fmla="*/ 2147483647 h 19"/>
              <a:gd name="T16" fmla="*/ 2147483647 w 81"/>
              <a:gd name="T17" fmla="*/ 2147483647 h 19"/>
              <a:gd name="T18" fmla="*/ 2147483647 w 81"/>
              <a:gd name="T19" fmla="*/ 0 h 19"/>
              <a:gd name="T20" fmla="*/ 2147483647 w 81"/>
              <a:gd name="T21" fmla="*/ 2147483647 h 19"/>
              <a:gd name="T22" fmla="*/ 2147483647 w 81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1"/>
              <a:gd name="T37" fmla="*/ 0 h 19"/>
              <a:gd name="T38" fmla="*/ 81 w 81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1" h="19">
                <a:moveTo>
                  <a:pt x="60" y="19"/>
                </a:moveTo>
                <a:lnTo>
                  <a:pt x="41" y="19"/>
                </a:lnTo>
                <a:lnTo>
                  <a:pt x="20" y="19"/>
                </a:lnTo>
                <a:lnTo>
                  <a:pt x="0" y="19"/>
                </a:lnTo>
                <a:lnTo>
                  <a:pt x="0" y="0"/>
                </a:lnTo>
                <a:lnTo>
                  <a:pt x="20" y="0"/>
                </a:lnTo>
                <a:lnTo>
                  <a:pt x="41" y="19"/>
                </a:lnTo>
                <a:lnTo>
                  <a:pt x="60" y="19"/>
                </a:lnTo>
                <a:lnTo>
                  <a:pt x="81" y="19"/>
                </a:lnTo>
                <a:lnTo>
                  <a:pt x="81" y="0"/>
                </a:lnTo>
                <a:lnTo>
                  <a:pt x="81" y="19"/>
                </a:lnTo>
                <a:lnTo>
                  <a:pt x="60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0" name="Freeform 24"/>
          <p:cNvSpPr>
            <a:spLocks/>
          </p:cNvSpPr>
          <p:nvPr/>
        </p:nvSpPr>
        <p:spPr bwMode="gray">
          <a:xfrm>
            <a:off x="6696075" y="4330700"/>
            <a:ext cx="42863" cy="14288"/>
          </a:xfrm>
          <a:custGeom>
            <a:avLst/>
            <a:gdLst>
              <a:gd name="T0" fmla="*/ 2147483647 w 60"/>
              <a:gd name="T1" fmla="*/ 2147483647 h 19"/>
              <a:gd name="T2" fmla="*/ 2147483647 w 60"/>
              <a:gd name="T3" fmla="*/ 2147483647 h 19"/>
              <a:gd name="T4" fmla="*/ 2147483647 w 60"/>
              <a:gd name="T5" fmla="*/ 2147483647 h 19"/>
              <a:gd name="T6" fmla="*/ 0 w 60"/>
              <a:gd name="T7" fmla="*/ 2147483647 h 19"/>
              <a:gd name="T8" fmla="*/ 2147483647 w 60"/>
              <a:gd name="T9" fmla="*/ 2147483647 h 19"/>
              <a:gd name="T10" fmla="*/ 2147483647 w 60"/>
              <a:gd name="T11" fmla="*/ 2147483647 h 19"/>
              <a:gd name="T12" fmla="*/ 2147483647 w 60"/>
              <a:gd name="T13" fmla="*/ 0 h 19"/>
              <a:gd name="T14" fmla="*/ 2147483647 w 60"/>
              <a:gd name="T15" fmla="*/ 0 h 19"/>
              <a:gd name="T16" fmla="*/ 2147483647 w 60"/>
              <a:gd name="T17" fmla="*/ 2147483647 h 1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0"/>
              <a:gd name="T28" fmla="*/ 0 h 19"/>
              <a:gd name="T29" fmla="*/ 60 w 60"/>
              <a:gd name="T30" fmla="*/ 19 h 1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0" h="19">
                <a:moveTo>
                  <a:pt x="60" y="19"/>
                </a:moveTo>
                <a:lnTo>
                  <a:pt x="41" y="19"/>
                </a:lnTo>
                <a:lnTo>
                  <a:pt x="20" y="19"/>
                </a:lnTo>
                <a:lnTo>
                  <a:pt x="0" y="19"/>
                </a:lnTo>
                <a:lnTo>
                  <a:pt x="20" y="19"/>
                </a:lnTo>
                <a:lnTo>
                  <a:pt x="41" y="19"/>
                </a:lnTo>
                <a:lnTo>
                  <a:pt x="41" y="0"/>
                </a:lnTo>
                <a:lnTo>
                  <a:pt x="60" y="0"/>
                </a:lnTo>
                <a:lnTo>
                  <a:pt x="60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1" name="Freeform 25"/>
          <p:cNvSpPr>
            <a:spLocks/>
          </p:cNvSpPr>
          <p:nvPr/>
        </p:nvSpPr>
        <p:spPr bwMode="gray">
          <a:xfrm>
            <a:off x="6738938" y="4344988"/>
            <a:ext cx="42862" cy="25400"/>
          </a:xfrm>
          <a:custGeom>
            <a:avLst/>
            <a:gdLst>
              <a:gd name="T0" fmla="*/ 2147483647 w 60"/>
              <a:gd name="T1" fmla="*/ 2147483647 h 35"/>
              <a:gd name="T2" fmla="*/ 2147483647 w 60"/>
              <a:gd name="T3" fmla="*/ 2147483647 h 35"/>
              <a:gd name="T4" fmla="*/ 2147483647 w 60"/>
              <a:gd name="T5" fmla="*/ 2147483647 h 35"/>
              <a:gd name="T6" fmla="*/ 2147483647 w 60"/>
              <a:gd name="T7" fmla="*/ 2147483647 h 35"/>
              <a:gd name="T8" fmla="*/ 0 w 60"/>
              <a:gd name="T9" fmla="*/ 2147483647 h 35"/>
              <a:gd name="T10" fmla="*/ 2147483647 w 60"/>
              <a:gd name="T11" fmla="*/ 0 h 35"/>
              <a:gd name="T12" fmla="*/ 2147483647 w 60"/>
              <a:gd name="T13" fmla="*/ 0 h 35"/>
              <a:gd name="T14" fmla="*/ 2147483647 w 60"/>
              <a:gd name="T15" fmla="*/ 2147483647 h 35"/>
              <a:gd name="T16" fmla="*/ 2147483647 w 60"/>
              <a:gd name="T17" fmla="*/ 2147483647 h 3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0"/>
              <a:gd name="T28" fmla="*/ 0 h 35"/>
              <a:gd name="T29" fmla="*/ 60 w 60"/>
              <a:gd name="T30" fmla="*/ 35 h 3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0" h="35">
                <a:moveTo>
                  <a:pt x="60" y="35"/>
                </a:moveTo>
                <a:lnTo>
                  <a:pt x="40" y="35"/>
                </a:lnTo>
                <a:lnTo>
                  <a:pt x="21" y="35"/>
                </a:lnTo>
                <a:lnTo>
                  <a:pt x="21" y="18"/>
                </a:lnTo>
                <a:lnTo>
                  <a:pt x="0" y="18"/>
                </a:lnTo>
                <a:lnTo>
                  <a:pt x="21" y="0"/>
                </a:lnTo>
                <a:lnTo>
                  <a:pt x="40" y="0"/>
                </a:lnTo>
                <a:lnTo>
                  <a:pt x="60" y="18"/>
                </a:lnTo>
                <a:lnTo>
                  <a:pt x="60" y="35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2" name="Freeform 26"/>
          <p:cNvSpPr>
            <a:spLocks/>
          </p:cNvSpPr>
          <p:nvPr/>
        </p:nvSpPr>
        <p:spPr bwMode="gray">
          <a:xfrm>
            <a:off x="6680200" y="4330700"/>
            <a:ext cx="0" cy="14288"/>
          </a:xfrm>
          <a:custGeom>
            <a:avLst/>
            <a:gdLst>
              <a:gd name="T0" fmla="*/ 0 h 19"/>
              <a:gd name="T1" fmla="*/ 2147483647 h 19"/>
              <a:gd name="T2" fmla="*/ 0 h 19"/>
              <a:gd name="T3" fmla="*/ 0 60000 65536"/>
              <a:gd name="T4" fmla="*/ 0 60000 65536"/>
              <a:gd name="T5" fmla="*/ 0 60000 65536"/>
              <a:gd name="T6" fmla="*/ 0 h 19"/>
              <a:gd name="T7" fmla="*/ 19 h 19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19">
                <a:moveTo>
                  <a:pt x="0" y="0"/>
                </a:moveTo>
                <a:lnTo>
                  <a:pt x="0" y="19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3" name="Freeform 27"/>
          <p:cNvSpPr>
            <a:spLocks/>
          </p:cNvSpPr>
          <p:nvPr/>
        </p:nvSpPr>
        <p:spPr bwMode="gray">
          <a:xfrm>
            <a:off x="6837363" y="4344988"/>
            <a:ext cx="85725" cy="38100"/>
          </a:xfrm>
          <a:custGeom>
            <a:avLst/>
            <a:gdLst>
              <a:gd name="T0" fmla="*/ 2147483647 w 121"/>
              <a:gd name="T1" fmla="*/ 2147483647 h 54"/>
              <a:gd name="T2" fmla="*/ 2147483647 w 121"/>
              <a:gd name="T3" fmla="*/ 2147483647 h 54"/>
              <a:gd name="T4" fmla="*/ 2147483647 w 121"/>
              <a:gd name="T5" fmla="*/ 2147483647 h 54"/>
              <a:gd name="T6" fmla="*/ 0 w 121"/>
              <a:gd name="T7" fmla="*/ 2147483647 h 54"/>
              <a:gd name="T8" fmla="*/ 0 w 121"/>
              <a:gd name="T9" fmla="*/ 2147483647 h 54"/>
              <a:gd name="T10" fmla="*/ 2147483647 w 121"/>
              <a:gd name="T11" fmla="*/ 2147483647 h 54"/>
              <a:gd name="T12" fmla="*/ 2147483647 w 121"/>
              <a:gd name="T13" fmla="*/ 0 h 54"/>
              <a:gd name="T14" fmla="*/ 2147483647 w 121"/>
              <a:gd name="T15" fmla="*/ 0 h 54"/>
              <a:gd name="T16" fmla="*/ 2147483647 w 121"/>
              <a:gd name="T17" fmla="*/ 0 h 54"/>
              <a:gd name="T18" fmla="*/ 2147483647 w 121"/>
              <a:gd name="T19" fmla="*/ 0 h 54"/>
              <a:gd name="T20" fmla="*/ 2147483647 w 121"/>
              <a:gd name="T21" fmla="*/ 0 h 54"/>
              <a:gd name="T22" fmla="*/ 2147483647 w 121"/>
              <a:gd name="T23" fmla="*/ 0 h 54"/>
              <a:gd name="T24" fmla="*/ 2147483647 w 121"/>
              <a:gd name="T25" fmla="*/ 2147483647 h 5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1"/>
              <a:gd name="T40" fmla="*/ 0 h 54"/>
              <a:gd name="T41" fmla="*/ 121 w 121"/>
              <a:gd name="T42" fmla="*/ 54 h 5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1" h="54">
                <a:moveTo>
                  <a:pt x="40" y="18"/>
                </a:moveTo>
                <a:lnTo>
                  <a:pt x="40" y="35"/>
                </a:lnTo>
                <a:lnTo>
                  <a:pt x="19" y="54"/>
                </a:lnTo>
                <a:lnTo>
                  <a:pt x="0" y="54"/>
                </a:lnTo>
                <a:lnTo>
                  <a:pt x="0" y="35"/>
                </a:lnTo>
                <a:lnTo>
                  <a:pt x="19" y="18"/>
                </a:lnTo>
                <a:lnTo>
                  <a:pt x="40" y="0"/>
                </a:lnTo>
                <a:lnTo>
                  <a:pt x="60" y="0"/>
                </a:lnTo>
                <a:lnTo>
                  <a:pt x="100" y="0"/>
                </a:lnTo>
                <a:lnTo>
                  <a:pt x="121" y="0"/>
                </a:lnTo>
                <a:lnTo>
                  <a:pt x="100" y="0"/>
                </a:lnTo>
                <a:lnTo>
                  <a:pt x="81" y="0"/>
                </a:lnTo>
                <a:lnTo>
                  <a:pt x="40" y="18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4" name="Freeform 28"/>
          <p:cNvSpPr>
            <a:spLocks/>
          </p:cNvSpPr>
          <p:nvPr/>
        </p:nvSpPr>
        <p:spPr bwMode="gray">
          <a:xfrm>
            <a:off x="7061200" y="4279900"/>
            <a:ext cx="26988" cy="23813"/>
          </a:xfrm>
          <a:custGeom>
            <a:avLst/>
            <a:gdLst>
              <a:gd name="T0" fmla="*/ 2147483647 w 40"/>
              <a:gd name="T1" fmla="*/ 0 h 35"/>
              <a:gd name="T2" fmla="*/ 2147483647 w 40"/>
              <a:gd name="T3" fmla="*/ 2147483647 h 35"/>
              <a:gd name="T4" fmla="*/ 2147483647 w 40"/>
              <a:gd name="T5" fmla="*/ 2147483647 h 35"/>
              <a:gd name="T6" fmla="*/ 2147483647 w 40"/>
              <a:gd name="T7" fmla="*/ 2147483647 h 35"/>
              <a:gd name="T8" fmla="*/ 0 w 40"/>
              <a:gd name="T9" fmla="*/ 2147483647 h 35"/>
              <a:gd name="T10" fmla="*/ 2147483647 w 40"/>
              <a:gd name="T11" fmla="*/ 2147483647 h 35"/>
              <a:gd name="T12" fmla="*/ 2147483647 w 40"/>
              <a:gd name="T13" fmla="*/ 2147483647 h 35"/>
              <a:gd name="T14" fmla="*/ 2147483647 w 40"/>
              <a:gd name="T15" fmla="*/ 0 h 35"/>
              <a:gd name="T16" fmla="*/ 2147483647 w 40"/>
              <a:gd name="T17" fmla="*/ 0 h 3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35"/>
              <a:gd name="T29" fmla="*/ 40 w 40"/>
              <a:gd name="T30" fmla="*/ 35 h 3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35">
                <a:moveTo>
                  <a:pt x="40" y="0"/>
                </a:moveTo>
                <a:lnTo>
                  <a:pt x="40" y="18"/>
                </a:lnTo>
                <a:lnTo>
                  <a:pt x="19" y="18"/>
                </a:lnTo>
                <a:lnTo>
                  <a:pt x="19" y="35"/>
                </a:lnTo>
                <a:lnTo>
                  <a:pt x="0" y="35"/>
                </a:lnTo>
                <a:lnTo>
                  <a:pt x="19" y="35"/>
                </a:lnTo>
                <a:lnTo>
                  <a:pt x="19" y="18"/>
                </a:lnTo>
                <a:lnTo>
                  <a:pt x="19" y="0"/>
                </a:lnTo>
                <a:lnTo>
                  <a:pt x="4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5" name="Freeform 29"/>
          <p:cNvSpPr>
            <a:spLocks/>
          </p:cNvSpPr>
          <p:nvPr/>
        </p:nvSpPr>
        <p:spPr bwMode="gray">
          <a:xfrm>
            <a:off x="6892925" y="4227513"/>
            <a:ext cx="30163" cy="14287"/>
          </a:xfrm>
          <a:custGeom>
            <a:avLst/>
            <a:gdLst>
              <a:gd name="T0" fmla="*/ 2147483647 w 40"/>
              <a:gd name="T1" fmla="*/ 0 h 20"/>
              <a:gd name="T2" fmla="*/ 2147483647 w 40"/>
              <a:gd name="T3" fmla="*/ 2147483647 h 20"/>
              <a:gd name="T4" fmla="*/ 2147483647 w 40"/>
              <a:gd name="T5" fmla="*/ 2147483647 h 20"/>
              <a:gd name="T6" fmla="*/ 0 w 40"/>
              <a:gd name="T7" fmla="*/ 0 h 20"/>
              <a:gd name="T8" fmla="*/ 2147483647 w 40"/>
              <a:gd name="T9" fmla="*/ 0 h 20"/>
              <a:gd name="T10" fmla="*/ 2147483647 w 40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20"/>
              <a:gd name="T20" fmla="*/ 40 w 40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20">
                <a:moveTo>
                  <a:pt x="40" y="0"/>
                </a:moveTo>
                <a:lnTo>
                  <a:pt x="40" y="20"/>
                </a:lnTo>
                <a:lnTo>
                  <a:pt x="19" y="20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6" name="Freeform 30"/>
          <p:cNvSpPr>
            <a:spLocks/>
          </p:cNvSpPr>
          <p:nvPr/>
        </p:nvSpPr>
        <p:spPr bwMode="gray">
          <a:xfrm>
            <a:off x="6934200" y="4214813"/>
            <a:ext cx="69850" cy="26987"/>
          </a:xfrm>
          <a:custGeom>
            <a:avLst/>
            <a:gdLst>
              <a:gd name="T0" fmla="*/ 2147483647 w 102"/>
              <a:gd name="T1" fmla="*/ 2147483647 h 37"/>
              <a:gd name="T2" fmla="*/ 2147483647 w 102"/>
              <a:gd name="T3" fmla="*/ 2147483647 h 37"/>
              <a:gd name="T4" fmla="*/ 2147483647 w 102"/>
              <a:gd name="T5" fmla="*/ 2147483647 h 37"/>
              <a:gd name="T6" fmla="*/ 2147483647 w 102"/>
              <a:gd name="T7" fmla="*/ 2147483647 h 37"/>
              <a:gd name="T8" fmla="*/ 2147483647 w 102"/>
              <a:gd name="T9" fmla="*/ 2147483647 h 37"/>
              <a:gd name="T10" fmla="*/ 2147483647 w 102"/>
              <a:gd name="T11" fmla="*/ 2147483647 h 37"/>
              <a:gd name="T12" fmla="*/ 2147483647 w 102"/>
              <a:gd name="T13" fmla="*/ 2147483647 h 37"/>
              <a:gd name="T14" fmla="*/ 0 w 102"/>
              <a:gd name="T15" fmla="*/ 2147483647 h 37"/>
              <a:gd name="T16" fmla="*/ 2147483647 w 102"/>
              <a:gd name="T17" fmla="*/ 0 h 37"/>
              <a:gd name="T18" fmla="*/ 2147483647 w 102"/>
              <a:gd name="T19" fmla="*/ 0 h 37"/>
              <a:gd name="T20" fmla="*/ 2147483647 w 102"/>
              <a:gd name="T21" fmla="*/ 0 h 37"/>
              <a:gd name="T22" fmla="*/ 2147483647 w 102"/>
              <a:gd name="T23" fmla="*/ 2147483647 h 37"/>
              <a:gd name="T24" fmla="*/ 2147483647 w 102"/>
              <a:gd name="T25" fmla="*/ 2147483647 h 3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2"/>
              <a:gd name="T40" fmla="*/ 0 h 37"/>
              <a:gd name="T41" fmla="*/ 102 w 102"/>
              <a:gd name="T42" fmla="*/ 37 h 3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2" h="37">
                <a:moveTo>
                  <a:pt x="83" y="17"/>
                </a:moveTo>
                <a:lnTo>
                  <a:pt x="102" y="17"/>
                </a:lnTo>
                <a:lnTo>
                  <a:pt x="102" y="37"/>
                </a:lnTo>
                <a:lnTo>
                  <a:pt x="83" y="37"/>
                </a:lnTo>
                <a:lnTo>
                  <a:pt x="62" y="37"/>
                </a:lnTo>
                <a:lnTo>
                  <a:pt x="41" y="17"/>
                </a:lnTo>
                <a:lnTo>
                  <a:pt x="19" y="17"/>
                </a:lnTo>
                <a:lnTo>
                  <a:pt x="0" y="17"/>
                </a:lnTo>
                <a:lnTo>
                  <a:pt x="19" y="0"/>
                </a:lnTo>
                <a:lnTo>
                  <a:pt x="41" y="0"/>
                </a:lnTo>
                <a:lnTo>
                  <a:pt x="62" y="0"/>
                </a:lnTo>
                <a:lnTo>
                  <a:pt x="62" y="17"/>
                </a:lnTo>
                <a:lnTo>
                  <a:pt x="83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7" name="Freeform 31"/>
          <p:cNvSpPr>
            <a:spLocks/>
          </p:cNvSpPr>
          <p:nvPr/>
        </p:nvSpPr>
        <p:spPr bwMode="gray">
          <a:xfrm>
            <a:off x="6977063" y="4383088"/>
            <a:ext cx="26987" cy="25400"/>
          </a:xfrm>
          <a:custGeom>
            <a:avLst/>
            <a:gdLst>
              <a:gd name="T0" fmla="*/ 2147483647 w 40"/>
              <a:gd name="T1" fmla="*/ 0 h 33"/>
              <a:gd name="T2" fmla="*/ 2147483647 w 40"/>
              <a:gd name="T3" fmla="*/ 2147483647 h 33"/>
              <a:gd name="T4" fmla="*/ 2147483647 w 40"/>
              <a:gd name="T5" fmla="*/ 2147483647 h 33"/>
              <a:gd name="T6" fmla="*/ 2147483647 w 40"/>
              <a:gd name="T7" fmla="*/ 2147483647 h 33"/>
              <a:gd name="T8" fmla="*/ 2147483647 w 40"/>
              <a:gd name="T9" fmla="*/ 2147483647 h 33"/>
              <a:gd name="T10" fmla="*/ 0 w 40"/>
              <a:gd name="T11" fmla="*/ 2147483647 h 33"/>
              <a:gd name="T12" fmla="*/ 2147483647 w 40"/>
              <a:gd name="T13" fmla="*/ 2147483647 h 33"/>
              <a:gd name="T14" fmla="*/ 2147483647 w 40"/>
              <a:gd name="T15" fmla="*/ 0 h 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0"/>
              <a:gd name="T25" fmla="*/ 0 h 33"/>
              <a:gd name="T26" fmla="*/ 40 w 40"/>
              <a:gd name="T27" fmla="*/ 33 h 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0" h="33">
                <a:moveTo>
                  <a:pt x="40" y="0"/>
                </a:moveTo>
                <a:lnTo>
                  <a:pt x="40" y="17"/>
                </a:lnTo>
                <a:lnTo>
                  <a:pt x="40" y="33"/>
                </a:lnTo>
                <a:lnTo>
                  <a:pt x="40" y="17"/>
                </a:lnTo>
                <a:lnTo>
                  <a:pt x="21" y="17"/>
                </a:lnTo>
                <a:lnTo>
                  <a:pt x="0" y="17"/>
                </a:lnTo>
                <a:lnTo>
                  <a:pt x="21" y="17"/>
                </a:lnTo>
                <a:lnTo>
                  <a:pt x="4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8" name="Freeform 32"/>
          <p:cNvSpPr>
            <a:spLocks/>
          </p:cNvSpPr>
          <p:nvPr/>
        </p:nvSpPr>
        <p:spPr bwMode="gray">
          <a:xfrm>
            <a:off x="6511925" y="3765550"/>
            <a:ext cx="58738" cy="36513"/>
          </a:xfrm>
          <a:custGeom>
            <a:avLst/>
            <a:gdLst>
              <a:gd name="T0" fmla="*/ 0 w 80"/>
              <a:gd name="T1" fmla="*/ 2147483647 h 54"/>
              <a:gd name="T2" fmla="*/ 2147483647 w 80"/>
              <a:gd name="T3" fmla="*/ 2147483647 h 54"/>
              <a:gd name="T4" fmla="*/ 2147483647 w 80"/>
              <a:gd name="T5" fmla="*/ 2147483647 h 54"/>
              <a:gd name="T6" fmla="*/ 2147483647 w 80"/>
              <a:gd name="T7" fmla="*/ 0 h 54"/>
              <a:gd name="T8" fmla="*/ 2147483647 w 80"/>
              <a:gd name="T9" fmla="*/ 2147483647 h 54"/>
              <a:gd name="T10" fmla="*/ 2147483647 w 80"/>
              <a:gd name="T11" fmla="*/ 2147483647 h 54"/>
              <a:gd name="T12" fmla="*/ 2147483647 w 80"/>
              <a:gd name="T13" fmla="*/ 2147483647 h 54"/>
              <a:gd name="T14" fmla="*/ 2147483647 w 80"/>
              <a:gd name="T15" fmla="*/ 2147483647 h 54"/>
              <a:gd name="T16" fmla="*/ 0 w 80"/>
              <a:gd name="T17" fmla="*/ 2147483647 h 54"/>
              <a:gd name="T18" fmla="*/ 0 w 80"/>
              <a:gd name="T19" fmla="*/ 2147483647 h 5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0"/>
              <a:gd name="T31" fmla="*/ 0 h 54"/>
              <a:gd name="T32" fmla="*/ 80 w 80"/>
              <a:gd name="T33" fmla="*/ 54 h 5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0" h="54">
                <a:moveTo>
                  <a:pt x="0" y="37"/>
                </a:moveTo>
                <a:lnTo>
                  <a:pt x="21" y="18"/>
                </a:lnTo>
                <a:lnTo>
                  <a:pt x="40" y="18"/>
                </a:lnTo>
                <a:lnTo>
                  <a:pt x="61" y="0"/>
                </a:lnTo>
                <a:lnTo>
                  <a:pt x="80" y="18"/>
                </a:lnTo>
                <a:lnTo>
                  <a:pt x="61" y="37"/>
                </a:lnTo>
                <a:lnTo>
                  <a:pt x="40" y="54"/>
                </a:lnTo>
                <a:lnTo>
                  <a:pt x="21" y="54"/>
                </a:lnTo>
                <a:lnTo>
                  <a:pt x="0" y="54"/>
                </a:lnTo>
                <a:lnTo>
                  <a:pt x="0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29" name="Freeform 33"/>
          <p:cNvSpPr>
            <a:spLocks/>
          </p:cNvSpPr>
          <p:nvPr/>
        </p:nvSpPr>
        <p:spPr bwMode="gray">
          <a:xfrm>
            <a:off x="6442075" y="4187825"/>
            <a:ext cx="46038" cy="26988"/>
          </a:xfrm>
          <a:custGeom>
            <a:avLst/>
            <a:gdLst>
              <a:gd name="T0" fmla="*/ 2147483647 w 61"/>
              <a:gd name="T1" fmla="*/ 2147483647 h 36"/>
              <a:gd name="T2" fmla="*/ 0 w 61"/>
              <a:gd name="T3" fmla="*/ 2147483647 h 36"/>
              <a:gd name="T4" fmla="*/ 2147483647 w 61"/>
              <a:gd name="T5" fmla="*/ 2147483647 h 36"/>
              <a:gd name="T6" fmla="*/ 2147483647 w 61"/>
              <a:gd name="T7" fmla="*/ 0 h 36"/>
              <a:gd name="T8" fmla="*/ 2147483647 w 61"/>
              <a:gd name="T9" fmla="*/ 2147483647 h 36"/>
              <a:gd name="T10" fmla="*/ 2147483647 w 61"/>
              <a:gd name="T11" fmla="*/ 2147483647 h 36"/>
              <a:gd name="T12" fmla="*/ 2147483647 w 61"/>
              <a:gd name="T13" fmla="*/ 2147483647 h 36"/>
              <a:gd name="T14" fmla="*/ 2147483647 w 61"/>
              <a:gd name="T15" fmla="*/ 2147483647 h 36"/>
              <a:gd name="T16" fmla="*/ 2147483647 w 61"/>
              <a:gd name="T17" fmla="*/ 2147483647 h 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1"/>
              <a:gd name="T28" fmla="*/ 0 h 36"/>
              <a:gd name="T29" fmla="*/ 61 w 61"/>
              <a:gd name="T30" fmla="*/ 36 h 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1" h="36">
                <a:moveTo>
                  <a:pt x="21" y="36"/>
                </a:moveTo>
                <a:lnTo>
                  <a:pt x="0" y="17"/>
                </a:lnTo>
                <a:lnTo>
                  <a:pt x="21" y="17"/>
                </a:lnTo>
                <a:lnTo>
                  <a:pt x="21" y="0"/>
                </a:lnTo>
                <a:lnTo>
                  <a:pt x="21" y="17"/>
                </a:lnTo>
                <a:lnTo>
                  <a:pt x="40" y="36"/>
                </a:lnTo>
                <a:lnTo>
                  <a:pt x="61" y="36"/>
                </a:lnTo>
                <a:lnTo>
                  <a:pt x="40" y="36"/>
                </a:lnTo>
                <a:lnTo>
                  <a:pt x="21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0" name="Freeform 34"/>
          <p:cNvSpPr>
            <a:spLocks/>
          </p:cNvSpPr>
          <p:nvPr/>
        </p:nvSpPr>
        <p:spPr bwMode="gray">
          <a:xfrm>
            <a:off x="6497638" y="4214813"/>
            <a:ext cx="14287" cy="12700"/>
          </a:xfrm>
          <a:custGeom>
            <a:avLst/>
            <a:gdLst>
              <a:gd name="T0" fmla="*/ 0 w 20"/>
              <a:gd name="T1" fmla="*/ 0 h 17"/>
              <a:gd name="T2" fmla="*/ 2147483647 w 20"/>
              <a:gd name="T3" fmla="*/ 0 h 17"/>
              <a:gd name="T4" fmla="*/ 0 w 20"/>
              <a:gd name="T5" fmla="*/ 2147483647 h 17"/>
              <a:gd name="T6" fmla="*/ 0 w 20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17"/>
              <a:gd name="T14" fmla="*/ 20 w 20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17">
                <a:moveTo>
                  <a:pt x="0" y="0"/>
                </a:moveTo>
                <a:lnTo>
                  <a:pt x="20" y="0"/>
                </a:lnTo>
                <a:lnTo>
                  <a:pt x="0" y="17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1" name="Freeform 35"/>
          <p:cNvSpPr>
            <a:spLocks/>
          </p:cNvSpPr>
          <p:nvPr/>
        </p:nvSpPr>
        <p:spPr bwMode="gray">
          <a:xfrm>
            <a:off x="6302375" y="4187825"/>
            <a:ext cx="14288" cy="26988"/>
          </a:xfrm>
          <a:custGeom>
            <a:avLst/>
            <a:gdLst>
              <a:gd name="T0" fmla="*/ 2147483647 w 21"/>
              <a:gd name="T1" fmla="*/ 0 h 36"/>
              <a:gd name="T2" fmla="*/ 2147483647 w 21"/>
              <a:gd name="T3" fmla="*/ 2147483647 h 36"/>
              <a:gd name="T4" fmla="*/ 2147483647 w 21"/>
              <a:gd name="T5" fmla="*/ 2147483647 h 36"/>
              <a:gd name="T6" fmla="*/ 2147483647 w 21"/>
              <a:gd name="T7" fmla="*/ 2147483647 h 36"/>
              <a:gd name="T8" fmla="*/ 2147483647 w 21"/>
              <a:gd name="T9" fmla="*/ 0 h 36"/>
              <a:gd name="T10" fmla="*/ 0 w 21"/>
              <a:gd name="T11" fmla="*/ 0 h 36"/>
              <a:gd name="T12" fmla="*/ 2147483647 w 21"/>
              <a:gd name="T13" fmla="*/ 0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"/>
              <a:gd name="T22" fmla="*/ 0 h 36"/>
              <a:gd name="T23" fmla="*/ 21 w 21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" h="36">
                <a:moveTo>
                  <a:pt x="21" y="0"/>
                </a:moveTo>
                <a:lnTo>
                  <a:pt x="21" y="17"/>
                </a:lnTo>
                <a:lnTo>
                  <a:pt x="21" y="36"/>
                </a:lnTo>
                <a:lnTo>
                  <a:pt x="21" y="17"/>
                </a:lnTo>
                <a:lnTo>
                  <a:pt x="21" y="0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2" name="Freeform 36"/>
          <p:cNvSpPr>
            <a:spLocks/>
          </p:cNvSpPr>
          <p:nvPr/>
        </p:nvSpPr>
        <p:spPr bwMode="gray">
          <a:xfrm>
            <a:off x="6273800" y="4138613"/>
            <a:ext cx="12700" cy="23812"/>
          </a:xfrm>
          <a:custGeom>
            <a:avLst/>
            <a:gdLst>
              <a:gd name="T0" fmla="*/ 0 w 21"/>
              <a:gd name="T1" fmla="*/ 0 h 33"/>
              <a:gd name="T2" fmla="*/ 2147483647 w 21"/>
              <a:gd name="T3" fmla="*/ 2147483647 h 33"/>
              <a:gd name="T4" fmla="*/ 2147483647 w 21"/>
              <a:gd name="T5" fmla="*/ 2147483647 h 33"/>
              <a:gd name="T6" fmla="*/ 0 w 21"/>
              <a:gd name="T7" fmla="*/ 2147483647 h 33"/>
              <a:gd name="T8" fmla="*/ 0 w 21"/>
              <a:gd name="T9" fmla="*/ 0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33"/>
              <a:gd name="T17" fmla="*/ 21 w 21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33">
                <a:moveTo>
                  <a:pt x="0" y="0"/>
                </a:moveTo>
                <a:lnTo>
                  <a:pt x="21" y="16"/>
                </a:lnTo>
                <a:lnTo>
                  <a:pt x="21" y="33"/>
                </a:lnTo>
                <a:lnTo>
                  <a:pt x="0" y="16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3" name="Freeform 37"/>
          <p:cNvSpPr>
            <a:spLocks/>
          </p:cNvSpPr>
          <p:nvPr/>
        </p:nvSpPr>
        <p:spPr bwMode="gray">
          <a:xfrm>
            <a:off x="6680200" y="4330700"/>
            <a:ext cx="0" cy="14288"/>
          </a:xfrm>
          <a:custGeom>
            <a:avLst/>
            <a:gdLst>
              <a:gd name="T0" fmla="*/ 0 h 19"/>
              <a:gd name="T1" fmla="*/ 2147483647 h 19"/>
              <a:gd name="T2" fmla="*/ 0 h 19"/>
              <a:gd name="T3" fmla="*/ 0 60000 65536"/>
              <a:gd name="T4" fmla="*/ 0 60000 65536"/>
              <a:gd name="T5" fmla="*/ 0 60000 65536"/>
              <a:gd name="T6" fmla="*/ 0 h 19"/>
              <a:gd name="T7" fmla="*/ 19 h 19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19">
                <a:moveTo>
                  <a:pt x="0" y="0"/>
                </a:moveTo>
                <a:lnTo>
                  <a:pt x="0" y="19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4" name="Freeform 38"/>
          <p:cNvSpPr>
            <a:spLocks/>
          </p:cNvSpPr>
          <p:nvPr/>
        </p:nvSpPr>
        <p:spPr bwMode="gray">
          <a:xfrm>
            <a:off x="6302375" y="4187825"/>
            <a:ext cx="14288" cy="26988"/>
          </a:xfrm>
          <a:custGeom>
            <a:avLst/>
            <a:gdLst>
              <a:gd name="T0" fmla="*/ 2147483647 w 21"/>
              <a:gd name="T1" fmla="*/ 0 h 36"/>
              <a:gd name="T2" fmla="*/ 2147483647 w 21"/>
              <a:gd name="T3" fmla="*/ 2147483647 h 36"/>
              <a:gd name="T4" fmla="*/ 2147483647 w 21"/>
              <a:gd name="T5" fmla="*/ 2147483647 h 36"/>
              <a:gd name="T6" fmla="*/ 2147483647 w 21"/>
              <a:gd name="T7" fmla="*/ 2147483647 h 36"/>
              <a:gd name="T8" fmla="*/ 2147483647 w 21"/>
              <a:gd name="T9" fmla="*/ 0 h 36"/>
              <a:gd name="T10" fmla="*/ 0 w 21"/>
              <a:gd name="T11" fmla="*/ 0 h 36"/>
              <a:gd name="T12" fmla="*/ 2147483647 w 21"/>
              <a:gd name="T13" fmla="*/ 0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"/>
              <a:gd name="T22" fmla="*/ 0 h 36"/>
              <a:gd name="T23" fmla="*/ 21 w 21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" h="36">
                <a:moveTo>
                  <a:pt x="21" y="0"/>
                </a:moveTo>
                <a:lnTo>
                  <a:pt x="21" y="17"/>
                </a:lnTo>
                <a:lnTo>
                  <a:pt x="21" y="36"/>
                </a:lnTo>
                <a:lnTo>
                  <a:pt x="21" y="17"/>
                </a:lnTo>
                <a:lnTo>
                  <a:pt x="21" y="0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5" name="Freeform 39"/>
          <p:cNvSpPr>
            <a:spLocks/>
          </p:cNvSpPr>
          <p:nvPr/>
        </p:nvSpPr>
        <p:spPr bwMode="gray">
          <a:xfrm>
            <a:off x="6738938" y="4124325"/>
            <a:ext cx="125412" cy="155575"/>
          </a:xfrm>
          <a:custGeom>
            <a:avLst/>
            <a:gdLst>
              <a:gd name="T0" fmla="*/ 2147483647 w 180"/>
              <a:gd name="T1" fmla="*/ 2147483647 h 215"/>
              <a:gd name="T2" fmla="*/ 2147483647 w 180"/>
              <a:gd name="T3" fmla="*/ 2147483647 h 215"/>
              <a:gd name="T4" fmla="*/ 2147483647 w 180"/>
              <a:gd name="T5" fmla="*/ 2147483647 h 215"/>
              <a:gd name="T6" fmla="*/ 2147483647 w 180"/>
              <a:gd name="T7" fmla="*/ 2147483647 h 215"/>
              <a:gd name="T8" fmla="*/ 2147483647 w 180"/>
              <a:gd name="T9" fmla="*/ 2147483647 h 215"/>
              <a:gd name="T10" fmla="*/ 2147483647 w 180"/>
              <a:gd name="T11" fmla="*/ 2147483647 h 215"/>
              <a:gd name="T12" fmla="*/ 2147483647 w 180"/>
              <a:gd name="T13" fmla="*/ 2147483647 h 215"/>
              <a:gd name="T14" fmla="*/ 2147483647 w 180"/>
              <a:gd name="T15" fmla="*/ 2147483647 h 215"/>
              <a:gd name="T16" fmla="*/ 2147483647 w 180"/>
              <a:gd name="T17" fmla="*/ 2147483647 h 215"/>
              <a:gd name="T18" fmla="*/ 2147483647 w 180"/>
              <a:gd name="T19" fmla="*/ 2147483647 h 215"/>
              <a:gd name="T20" fmla="*/ 2147483647 w 180"/>
              <a:gd name="T21" fmla="*/ 2147483647 h 215"/>
              <a:gd name="T22" fmla="*/ 2147483647 w 180"/>
              <a:gd name="T23" fmla="*/ 2147483647 h 215"/>
              <a:gd name="T24" fmla="*/ 2147483647 w 180"/>
              <a:gd name="T25" fmla="*/ 2147483647 h 215"/>
              <a:gd name="T26" fmla="*/ 2147483647 w 180"/>
              <a:gd name="T27" fmla="*/ 2147483647 h 215"/>
              <a:gd name="T28" fmla="*/ 2147483647 w 180"/>
              <a:gd name="T29" fmla="*/ 0 h 215"/>
              <a:gd name="T30" fmla="*/ 2147483647 w 180"/>
              <a:gd name="T31" fmla="*/ 2147483647 h 215"/>
              <a:gd name="T32" fmla="*/ 2147483647 w 180"/>
              <a:gd name="T33" fmla="*/ 2147483647 h 215"/>
              <a:gd name="T34" fmla="*/ 2147483647 w 180"/>
              <a:gd name="T35" fmla="*/ 2147483647 h 215"/>
              <a:gd name="T36" fmla="*/ 2147483647 w 180"/>
              <a:gd name="T37" fmla="*/ 2147483647 h 215"/>
              <a:gd name="T38" fmla="*/ 2147483647 w 180"/>
              <a:gd name="T39" fmla="*/ 2147483647 h 215"/>
              <a:gd name="T40" fmla="*/ 2147483647 w 180"/>
              <a:gd name="T41" fmla="*/ 2147483647 h 215"/>
              <a:gd name="T42" fmla="*/ 2147483647 w 180"/>
              <a:gd name="T43" fmla="*/ 2147483647 h 215"/>
              <a:gd name="T44" fmla="*/ 2147483647 w 180"/>
              <a:gd name="T45" fmla="*/ 2147483647 h 215"/>
              <a:gd name="T46" fmla="*/ 2147483647 w 180"/>
              <a:gd name="T47" fmla="*/ 2147483647 h 215"/>
              <a:gd name="T48" fmla="*/ 2147483647 w 180"/>
              <a:gd name="T49" fmla="*/ 2147483647 h 215"/>
              <a:gd name="T50" fmla="*/ 2147483647 w 180"/>
              <a:gd name="T51" fmla="*/ 2147483647 h 215"/>
              <a:gd name="T52" fmla="*/ 2147483647 w 180"/>
              <a:gd name="T53" fmla="*/ 2147483647 h 215"/>
              <a:gd name="T54" fmla="*/ 0 w 180"/>
              <a:gd name="T55" fmla="*/ 2147483647 h 215"/>
              <a:gd name="T56" fmla="*/ 0 w 180"/>
              <a:gd name="T57" fmla="*/ 2147483647 h 215"/>
              <a:gd name="T58" fmla="*/ 0 w 180"/>
              <a:gd name="T59" fmla="*/ 2147483647 h 215"/>
              <a:gd name="T60" fmla="*/ 0 w 180"/>
              <a:gd name="T61" fmla="*/ 2147483647 h 215"/>
              <a:gd name="T62" fmla="*/ 2147483647 w 180"/>
              <a:gd name="T63" fmla="*/ 2147483647 h 215"/>
              <a:gd name="T64" fmla="*/ 2147483647 w 180"/>
              <a:gd name="T65" fmla="*/ 2147483647 h 215"/>
              <a:gd name="T66" fmla="*/ 2147483647 w 180"/>
              <a:gd name="T67" fmla="*/ 2147483647 h 215"/>
              <a:gd name="T68" fmla="*/ 2147483647 w 180"/>
              <a:gd name="T69" fmla="*/ 2147483647 h 215"/>
              <a:gd name="T70" fmla="*/ 2147483647 w 180"/>
              <a:gd name="T71" fmla="*/ 2147483647 h 215"/>
              <a:gd name="T72" fmla="*/ 2147483647 w 180"/>
              <a:gd name="T73" fmla="*/ 2147483647 h 215"/>
              <a:gd name="T74" fmla="*/ 2147483647 w 180"/>
              <a:gd name="T75" fmla="*/ 2147483647 h 215"/>
              <a:gd name="T76" fmla="*/ 2147483647 w 180"/>
              <a:gd name="T77" fmla="*/ 2147483647 h 215"/>
              <a:gd name="T78" fmla="*/ 2147483647 w 180"/>
              <a:gd name="T79" fmla="*/ 2147483647 h 215"/>
              <a:gd name="T80" fmla="*/ 2147483647 w 180"/>
              <a:gd name="T81" fmla="*/ 2147483647 h 215"/>
              <a:gd name="T82" fmla="*/ 2147483647 w 180"/>
              <a:gd name="T83" fmla="*/ 2147483647 h 215"/>
              <a:gd name="T84" fmla="*/ 2147483647 w 180"/>
              <a:gd name="T85" fmla="*/ 2147483647 h 215"/>
              <a:gd name="T86" fmla="*/ 2147483647 w 180"/>
              <a:gd name="T87" fmla="*/ 2147483647 h 215"/>
              <a:gd name="T88" fmla="*/ 2147483647 w 180"/>
              <a:gd name="T89" fmla="*/ 2147483647 h 215"/>
              <a:gd name="T90" fmla="*/ 2147483647 w 180"/>
              <a:gd name="T91" fmla="*/ 2147483647 h 215"/>
              <a:gd name="T92" fmla="*/ 2147483647 w 180"/>
              <a:gd name="T93" fmla="*/ 2147483647 h 215"/>
              <a:gd name="T94" fmla="*/ 2147483647 w 180"/>
              <a:gd name="T95" fmla="*/ 2147483647 h 215"/>
              <a:gd name="T96" fmla="*/ 2147483647 w 180"/>
              <a:gd name="T97" fmla="*/ 2147483647 h 215"/>
              <a:gd name="T98" fmla="*/ 2147483647 w 180"/>
              <a:gd name="T99" fmla="*/ 2147483647 h 215"/>
              <a:gd name="T100" fmla="*/ 2147483647 w 180"/>
              <a:gd name="T101" fmla="*/ 2147483647 h 215"/>
              <a:gd name="T102" fmla="*/ 2147483647 w 180"/>
              <a:gd name="T103" fmla="*/ 2147483647 h 215"/>
              <a:gd name="T104" fmla="*/ 2147483647 w 180"/>
              <a:gd name="T105" fmla="*/ 2147483647 h 215"/>
              <a:gd name="T106" fmla="*/ 2147483647 w 180"/>
              <a:gd name="T107" fmla="*/ 2147483647 h 215"/>
              <a:gd name="T108" fmla="*/ 2147483647 w 180"/>
              <a:gd name="T109" fmla="*/ 2147483647 h 215"/>
              <a:gd name="T110" fmla="*/ 2147483647 w 180"/>
              <a:gd name="T111" fmla="*/ 2147483647 h 215"/>
              <a:gd name="T112" fmla="*/ 2147483647 w 180"/>
              <a:gd name="T113" fmla="*/ 2147483647 h 21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80"/>
              <a:gd name="T172" fmla="*/ 0 h 215"/>
              <a:gd name="T173" fmla="*/ 180 w 180"/>
              <a:gd name="T174" fmla="*/ 215 h 21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80" h="215">
                <a:moveTo>
                  <a:pt x="81" y="89"/>
                </a:moveTo>
                <a:lnTo>
                  <a:pt x="60" y="89"/>
                </a:lnTo>
                <a:lnTo>
                  <a:pt x="60" y="71"/>
                </a:lnTo>
                <a:lnTo>
                  <a:pt x="40" y="71"/>
                </a:lnTo>
                <a:lnTo>
                  <a:pt x="60" y="52"/>
                </a:lnTo>
                <a:lnTo>
                  <a:pt x="81" y="52"/>
                </a:lnTo>
                <a:lnTo>
                  <a:pt x="100" y="52"/>
                </a:lnTo>
                <a:lnTo>
                  <a:pt x="121" y="35"/>
                </a:lnTo>
                <a:lnTo>
                  <a:pt x="121" y="52"/>
                </a:lnTo>
                <a:lnTo>
                  <a:pt x="140" y="52"/>
                </a:lnTo>
                <a:lnTo>
                  <a:pt x="159" y="52"/>
                </a:lnTo>
                <a:lnTo>
                  <a:pt x="180" y="52"/>
                </a:lnTo>
                <a:lnTo>
                  <a:pt x="180" y="35"/>
                </a:lnTo>
                <a:lnTo>
                  <a:pt x="180" y="19"/>
                </a:lnTo>
                <a:lnTo>
                  <a:pt x="180" y="0"/>
                </a:lnTo>
                <a:lnTo>
                  <a:pt x="180" y="19"/>
                </a:lnTo>
                <a:lnTo>
                  <a:pt x="159" y="19"/>
                </a:lnTo>
                <a:lnTo>
                  <a:pt x="159" y="35"/>
                </a:lnTo>
                <a:lnTo>
                  <a:pt x="140" y="35"/>
                </a:lnTo>
                <a:lnTo>
                  <a:pt x="121" y="19"/>
                </a:lnTo>
                <a:lnTo>
                  <a:pt x="100" y="19"/>
                </a:lnTo>
                <a:lnTo>
                  <a:pt x="60" y="19"/>
                </a:lnTo>
                <a:lnTo>
                  <a:pt x="60" y="35"/>
                </a:lnTo>
                <a:lnTo>
                  <a:pt x="40" y="52"/>
                </a:lnTo>
                <a:lnTo>
                  <a:pt x="40" y="71"/>
                </a:lnTo>
                <a:lnTo>
                  <a:pt x="21" y="71"/>
                </a:lnTo>
                <a:lnTo>
                  <a:pt x="21" y="89"/>
                </a:lnTo>
                <a:lnTo>
                  <a:pt x="0" y="106"/>
                </a:lnTo>
                <a:lnTo>
                  <a:pt x="0" y="125"/>
                </a:lnTo>
                <a:lnTo>
                  <a:pt x="0" y="142"/>
                </a:lnTo>
                <a:lnTo>
                  <a:pt x="0" y="162"/>
                </a:lnTo>
                <a:lnTo>
                  <a:pt x="21" y="162"/>
                </a:lnTo>
                <a:lnTo>
                  <a:pt x="21" y="179"/>
                </a:lnTo>
                <a:lnTo>
                  <a:pt x="21" y="196"/>
                </a:lnTo>
                <a:lnTo>
                  <a:pt x="21" y="215"/>
                </a:lnTo>
                <a:lnTo>
                  <a:pt x="40" y="215"/>
                </a:lnTo>
                <a:lnTo>
                  <a:pt x="60" y="196"/>
                </a:lnTo>
                <a:lnTo>
                  <a:pt x="60" y="179"/>
                </a:lnTo>
                <a:lnTo>
                  <a:pt x="60" y="162"/>
                </a:lnTo>
                <a:lnTo>
                  <a:pt x="60" y="142"/>
                </a:lnTo>
                <a:lnTo>
                  <a:pt x="60" y="125"/>
                </a:lnTo>
                <a:lnTo>
                  <a:pt x="60" y="142"/>
                </a:lnTo>
                <a:lnTo>
                  <a:pt x="60" y="162"/>
                </a:lnTo>
                <a:lnTo>
                  <a:pt x="81" y="179"/>
                </a:lnTo>
                <a:lnTo>
                  <a:pt x="100" y="179"/>
                </a:lnTo>
                <a:lnTo>
                  <a:pt x="121" y="179"/>
                </a:lnTo>
                <a:lnTo>
                  <a:pt x="121" y="162"/>
                </a:lnTo>
                <a:lnTo>
                  <a:pt x="121" y="142"/>
                </a:lnTo>
                <a:lnTo>
                  <a:pt x="100" y="125"/>
                </a:lnTo>
                <a:lnTo>
                  <a:pt x="81" y="125"/>
                </a:lnTo>
                <a:lnTo>
                  <a:pt x="81" y="106"/>
                </a:lnTo>
                <a:lnTo>
                  <a:pt x="121" y="106"/>
                </a:lnTo>
                <a:lnTo>
                  <a:pt x="121" y="89"/>
                </a:lnTo>
                <a:lnTo>
                  <a:pt x="140" y="71"/>
                </a:lnTo>
                <a:lnTo>
                  <a:pt x="121" y="71"/>
                </a:lnTo>
                <a:lnTo>
                  <a:pt x="100" y="71"/>
                </a:lnTo>
                <a:lnTo>
                  <a:pt x="81" y="8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6" name="Freeform 40"/>
          <p:cNvSpPr>
            <a:spLocks/>
          </p:cNvSpPr>
          <p:nvPr/>
        </p:nvSpPr>
        <p:spPr bwMode="gray">
          <a:xfrm>
            <a:off x="6923088" y="4124325"/>
            <a:ext cx="39687" cy="52388"/>
          </a:xfrm>
          <a:custGeom>
            <a:avLst/>
            <a:gdLst>
              <a:gd name="T0" fmla="*/ 2147483647 w 60"/>
              <a:gd name="T1" fmla="*/ 2147483647 h 71"/>
              <a:gd name="T2" fmla="*/ 2147483647 w 60"/>
              <a:gd name="T3" fmla="*/ 2147483647 h 71"/>
              <a:gd name="T4" fmla="*/ 2147483647 w 60"/>
              <a:gd name="T5" fmla="*/ 2147483647 h 71"/>
              <a:gd name="T6" fmla="*/ 2147483647 w 60"/>
              <a:gd name="T7" fmla="*/ 2147483647 h 71"/>
              <a:gd name="T8" fmla="*/ 2147483647 w 60"/>
              <a:gd name="T9" fmla="*/ 2147483647 h 71"/>
              <a:gd name="T10" fmla="*/ 2147483647 w 60"/>
              <a:gd name="T11" fmla="*/ 0 h 71"/>
              <a:gd name="T12" fmla="*/ 2147483647 w 60"/>
              <a:gd name="T13" fmla="*/ 0 h 71"/>
              <a:gd name="T14" fmla="*/ 0 w 60"/>
              <a:gd name="T15" fmla="*/ 0 h 71"/>
              <a:gd name="T16" fmla="*/ 0 w 60"/>
              <a:gd name="T17" fmla="*/ 2147483647 h 71"/>
              <a:gd name="T18" fmla="*/ 2147483647 w 60"/>
              <a:gd name="T19" fmla="*/ 2147483647 h 71"/>
              <a:gd name="T20" fmla="*/ 2147483647 w 60"/>
              <a:gd name="T21" fmla="*/ 2147483647 h 71"/>
              <a:gd name="T22" fmla="*/ 2147483647 w 60"/>
              <a:gd name="T23" fmla="*/ 2147483647 h 71"/>
              <a:gd name="T24" fmla="*/ 2147483647 w 60"/>
              <a:gd name="T25" fmla="*/ 2147483647 h 71"/>
              <a:gd name="T26" fmla="*/ 2147483647 w 60"/>
              <a:gd name="T27" fmla="*/ 2147483647 h 71"/>
              <a:gd name="T28" fmla="*/ 2147483647 w 60"/>
              <a:gd name="T29" fmla="*/ 2147483647 h 7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0"/>
              <a:gd name="T46" fmla="*/ 0 h 71"/>
              <a:gd name="T47" fmla="*/ 60 w 60"/>
              <a:gd name="T48" fmla="*/ 71 h 7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0" h="71">
                <a:moveTo>
                  <a:pt x="19" y="52"/>
                </a:moveTo>
                <a:lnTo>
                  <a:pt x="38" y="52"/>
                </a:lnTo>
                <a:lnTo>
                  <a:pt x="38" y="35"/>
                </a:lnTo>
                <a:lnTo>
                  <a:pt x="38" y="19"/>
                </a:lnTo>
                <a:lnTo>
                  <a:pt x="60" y="19"/>
                </a:lnTo>
                <a:lnTo>
                  <a:pt x="38" y="0"/>
                </a:lnTo>
                <a:lnTo>
                  <a:pt x="19" y="0"/>
                </a:lnTo>
                <a:lnTo>
                  <a:pt x="0" y="0"/>
                </a:lnTo>
                <a:lnTo>
                  <a:pt x="0" y="19"/>
                </a:lnTo>
                <a:lnTo>
                  <a:pt x="19" y="35"/>
                </a:lnTo>
                <a:lnTo>
                  <a:pt x="19" y="52"/>
                </a:lnTo>
                <a:lnTo>
                  <a:pt x="19" y="71"/>
                </a:lnTo>
                <a:lnTo>
                  <a:pt x="38" y="71"/>
                </a:lnTo>
                <a:lnTo>
                  <a:pt x="19" y="71"/>
                </a:lnTo>
                <a:lnTo>
                  <a:pt x="19" y="52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7" name="Freeform 41"/>
          <p:cNvSpPr>
            <a:spLocks/>
          </p:cNvSpPr>
          <p:nvPr/>
        </p:nvSpPr>
        <p:spPr bwMode="gray">
          <a:xfrm>
            <a:off x="6821488" y="3970338"/>
            <a:ext cx="101600" cy="76200"/>
          </a:xfrm>
          <a:custGeom>
            <a:avLst/>
            <a:gdLst>
              <a:gd name="T0" fmla="*/ 2147483647 w 140"/>
              <a:gd name="T1" fmla="*/ 2147483647 h 108"/>
              <a:gd name="T2" fmla="*/ 2147483647 w 140"/>
              <a:gd name="T3" fmla="*/ 2147483647 h 108"/>
              <a:gd name="T4" fmla="*/ 2147483647 w 140"/>
              <a:gd name="T5" fmla="*/ 2147483647 h 108"/>
              <a:gd name="T6" fmla="*/ 2147483647 w 140"/>
              <a:gd name="T7" fmla="*/ 2147483647 h 108"/>
              <a:gd name="T8" fmla="*/ 2147483647 w 140"/>
              <a:gd name="T9" fmla="*/ 2147483647 h 108"/>
              <a:gd name="T10" fmla="*/ 2147483647 w 140"/>
              <a:gd name="T11" fmla="*/ 2147483647 h 108"/>
              <a:gd name="T12" fmla="*/ 2147483647 w 140"/>
              <a:gd name="T13" fmla="*/ 2147483647 h 108"/>
              <a:gd name="T14" fmla="*/ 2147483647 w 140"/>
              <a:gd name="T15" fmla="*/ 2147483647 h 108"/>
              <a:gd name="T16" fmla="*/ 2147483647 w 140"/>
              <a:gd name="T17" fmla="*/ 2147483647 h 108"/>
              <a:gd name="T18" fmla="*/ 2147483647 w 140"/>
              <a:gd name="T19" fmla="*/ 2147483647 h 108"/>
              <a:gd name="T20" fmla="*/ 2147483647 w 140"/>
              <a:gd name="T21" fmla="*/ 2147483647 h 108"/>
              <a:gd name="T22" fmla="*/ 2147483647 w 140"/>
              <a:gd name="T23" fmla="*/ 2147483647 h 108"/>
              <a:gd name="T24" fmla="*/ 2147483647 w 140"/>
              <a:gd name="T25" fmla="*/ 2147483647 h 108"/>
              <a:gd name="T26" fmla="*/ 2147483647 w 140"/>
              <a:gd name="T27" fmla="*/ 2147483647 h 108"/>
              <a:gd name="T28" fmla="*/ 2147483647 w 140"/>
              <a:gd name="T29" fmla="*/ 2147483647 h 108"/>
              <a:gd name="T30" fmla="*/ 0 w 140"/>
              <a:gd name="T31" fmla="*/ 2147483647 h 108"/>
              <a:gd name="T32" fmla="*/ 0 w 140"/>
              <a:gd name="T33" fmla="*/ 2147483647 h 108"/>
              <a:gd name="T34" fmla="*/ 0 w 140"/>
              <a:gd name="T35" fmla="*/ 2147483647 h 108"/>
              <a:gd name="T36" fmla="*/ 0 w 140"/>
              <a:gd name="T37" fmla="*/ 2147483647 h 108"/>
              <a:gd name="T38" fmla="*/ 0 w 140"/>
              <a:gd name="T39" fmla="*/ 2147483647 h 108"/>
              <a:gd name="T40" fmla="*/ 0 w 140"/>
              <a:gd name="T41" fmla="*/ 2147483647 h 108"/>
              <a:gd name="T42" fmla="*/ 0 w 140"/>
              <a:gd name="T43" fmla="*/ 2147483647 h 108"/>
              <a:gd name="T44" fmla="*/ 0 w 140"/>
              <a:gd name="T45" fmla="*/ 2147483647 h 108"/>
              <a:gd name="T46" fmla="*/ 2147483647 w 140"/>
              <a:gd name="T47" fmla="*/ 2147483647 h 108"/>
              <a:gd name="T48" fmla="*/ 2147483647 w 140"/>
              <a:gd name="T49" fmla="*/ 2147483647 h 108"/>
              <a:gd name="T50" fmla="*/ 2147483647 w 140"/>
              <a:gd name="T51" fmla="*/ 2147483647 h 108"/>
              <a:gd name="T52" fmla="*/ 2147483647 w 140"/>
              <a:gd name="T53" fmla="*/ 2147483647 h 108"/>
              <a:gd name="T54" fmla="*/ 2147483647 w 140"/>
              <a:gd name="T55" fmla="*/ 2147483647 h 108"/>
              <a:gd name="T56" fmla="*/ 2147483647 w 140"/>
              <a:gd name="T57" fmla="*/ 0 h 108"/>
              <a:gd name="T58" fmla="*/ 2147483647 w 140"/>
              <a:gd name="T59" fmla="*/ 0 h 108"/>
              <a:gd name="T60" fmla="*/ 2147483647 w 140"/>
              <a:gd name="T61" fmla="*/ 2147483647 h 108"/>
              <a:gd name="T62" fmla="*/ 2147483647 w 140"/>
              <a:gd name="T63" fmla="*/ 2147483647 h 108"/>
              <a:gd name="T64" fmla="*/ 2147483647 w 140"/>
              <a:gd name="T65" fmla="*/ 2147483647 h 108"/>
              <a:gd name="T66" fmla="*/ 2147483647 w 140"/>
              <a:gd name="T67" fmla="*/ 2147483647 h 108"/>
              <a:gd name="T68" fmla="*/ 2147483647 w 140"/>
              <a:gd name="T69" fmla="*/ 2147483647 h 108"/>
              <a:gd name="T70" fmla="*/ 2147483647 w 140"/>
              <a:gd name="T71" fmla="*/ 2147483647 h 108"/>
              <a:gd name="T72" fmla="*/ 2147483647 w 140"/>
              <a:gd name="T73" fmla="*/ 2147483647 h 108"/>
              <a:gd name="T74" fmla="*/ 2147483647 w 140"/>
              <a:gd name="T75" fmla="*/ 2147483647 h 108"/>
              <a:gd name="T76" fmla="*/ 2147483647 w 140"/>
              <a:gd name="T77" fmla="*/ 2147483647 h 108"/>
              <a:gd name="T78" fmla="*/ 2147483647 w 140"/>
              <a:gd name="T79" fmla="*/ 2147483647 h 10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40"/>
              <a:gd name="T121" fmla="*/ 0 h 108"/>
              <a:gd name="T122" fmla="*/ 140 w 140"/>
              <a:gd name="T123" fmla="*/ 108 h 10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40" h="108">
                <a:moveTo>
                  <a:pt x="100" y="91"/>
                </a:moveTo>
                <a:lnTo>
                  <a:pt x="100" y="71"/>
                </a:lnTo>
                <a:lnTo>
                  <a:pt x="79" y="71"/>
                </a:lnTo>
                <a:lnTo>
                  <a:pt x="79" y="91"/>
                </a:lnTo>
                <a:lnTo>
                  <a:pt x="100" y="108"/>
                </a:lnTo>
                <a:lnTo>
                  <a:pt x="79" y="108"/>
                </a:lnTo>
                <a:lnTo>
                  <a:pt x="59" y="108"/>
                </a:lnTo>
                <a:lnTo>
                  <a:pt x="59" y="71"/>
                </a:lnTo>
                <a:lnTo>
                  <a:pt x="59" y="54"/>
                </a:lnTo>
                <a:lnTo>
                  <a:pt x="38" y="54"/>
                </a:lnTo>
                <a:lnTo>
                  <a:pt x="38" y="71"/>
                </a:lnTo>
                <a:lnTo>
                  <a:pt x="19" y="71"/>
                </a:lnTo>
                <a:lnTo>
                  <a:pt x="19" y="54"/>
                </a:lnTo>
                <a:lnTo>
                  <a:pt x="19" y="71"/>
                </a:lnTo>
                <a:lnTo>
                  <a:pt x="19" y="54"/>
                </a:lnTo>
                <a:lnTo>
                  <a:pt x="0" y="54"/>
                </a:lnTo>
                <a:lnTo>
                  <a:pt x="0" y="71"/>
                </a:lnTo>
                <a:lnTo>
                  <a:pt x="0" y="91"/>
                </a:lnTo>
                <a:lnTo>
                  <a:pt x="0" y="108"/>
                </a:lnTo>
                <a:lnTo>
                  <a:pt x="0" y="91"/>
                </a:lnTo>
                <a:lnTo>
                  <a:pt x="0" y="71"/>
                </a:lnTo>
                <a:lnTo>
                  <a:pt x="0" y="54"/>
                </a:lnTo>
                <a:lnTo>
                  <a:pt x="0" y="35"/>
                </a:lnTo>
                <a:lnTo>
                  <a:pt x="19" y="35"/>
                </a:lnTo>
                <a:lnTo>
                  <a:pt x="38" y="35"/>
                </a:lnTo>
                <a:lnTo>
                  <a:pt x="59" y="35"/>
                </a:lnTo>
                <a:lnTo>
                  <a:pt x="59" y="18"/>
                </a:lnTo>
                <a:lnTo>
                  <a:pt x="79" y="18"/>
                </a:lnTo>
                <a:lnTo>
                  <a:pt x="79" y="0"/>
                </a:lnTo>
                <a:lnTo>
                  <a:pt x="100" y="0"/>
                </a:lnTo>
                <a:lnTo>
                  <a:pt x="119" y="18"/>
                </a:lnTo>
                <a:lnTo>
                  <a:pt x="119" y="35"/>
                </a:lnTo>
                <a:lnTo>
                  <a:pt x="140" y="71"/>
                </a:lnTo>
                <a:lnTo>
                  <a:pt x="119" y="71"/>
                </a:lnTo>
                <a:lnTo>
                  <a:pt x="119" y="91"/>
                </a:lnTo>
                <a:lnTo>
                  <a:pt x="119" y="108"/>
                </a:lnTo>
                <a:lnTo>
                  <a:pt x="119" y="91"/>
                </a:lnTo>
                <a:lnTo>
                  <a:pt x="100" y="91"/>
                </a:lnTo>
                <a:lnTo>
                  <a:pt x="100" y="71"/>
                </a:lnTo>
                <a:lnTo>
                  <a:pt x="100" y="9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8" name="Freeform 42"/>
          <p:cNvSpPr>
            <a:spLocks/>
          </p:cNvSpPr>
          <p:nvPr/>
        </p:nvSpPr>
        <p:spPr bwMode="gray">
          <a:xfrm>
            <a:off x="6723063" y="3941763"/>
            <a:ext cx="58737" cy="52387"/>
          </a:xfrm>
          <a:custGeom>
            <a:avLst/>
            <a:gdLst>
              <a:gd name="T0" fmla="*/ 0 w 79"/>
              <a:gd name="T1" fmla="*/ 2147483647 h 71"/>
              <a:gd name="T2" fmla="*/ 0 w 79"/>
              <a:gd name="T3" fmla="*/ 2147483647 h 71"/>
              <a:gd name="T4" fmla="*/ 2147483647 w 79"/>
              <a:gd name="T5" fmla="*/ 2147483647 h 71"/>
              <a:gd name="T6" fmla="*/ 2147483647 w 79"/>
              <a:gd name="T7" fmla="*/ 2147483647 h 71"/>
              <a:gd name="T8" fmla="*/ 2147483647 w 79"/>
              <a:gd name="T9" fmla="*/ 0 h 71"/>
              <a:gd name="T10" fmla="*/ 2147483647 w 79"/>
              <a:gd name="T11" fmla="*/ 2147483647 h 71"/>
              <a:gd name="T12" fmla="*/ 2147483647 w 79"/>
              <a:gd name="T13" fmla="*/ 2147483647 h 71"/>
              <a:gd name="T14" fmla="*/ 2147483647 w 79"/>
              <a:gd name="T15" fmla="*/ 2147483647 h 71"/>
              <a:gd name="T16" fmla="*/ 2147483647 w 79"/>
              <a:gd name="T17" fmla="*/ 2147483647 h 71"/>
              <a:gd name="T18" fmla="*/ 2147483647 w 79"/>
              <a:gd name="T19" fmla="*/ 2147483647 h 71"/>
              <a:gd name="T20" fmla="*/ 0 w 79"/>
              <a:gd name="T21" fmla="*/ 2147483647 h 71"/>
              <a:gd name="T22" fmla="*/ 0 w 79"/>
              <a:gd name="T23" fmla="*/ 2147483647 h 7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9"/>
              <a:gd name="T37" fmla="*/ 0 h 71"/>
              <a:gd name="T38" fmla="*/ 79 w 79"/>
              <a:gd name="T39" fmla="*/ 71 h 7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9" h="71">
                <a:moveTo>
                  <a:pt x="0" y="71"/>
                </a:moveTo>
                <a:lnTo>
                  <a:pt x="0" y="36"/>
                </a:lnTo>
                <a:lnTo>
                  <a:pt x="40" y="17"/>
                </a:lnTo>
                <a:lnTo>
                  <a:pt x="59" y="17"/>
                </a:lnTo>
                <a:lnTo>
                  <a:pt x="59" y="0"/>
                </a:lnTo>
                <a:lnTo>
                  <a:pt x="59" y="17"/>
                </a:lnTo>
                <a:lnTo>
                  <a:pt x="79" y="17"/>
                </a:lnTo>
                <a:lnTo>
                  <a:pt x="59" y="17"/>
                </a:lnTo>
                <a:lnTo>
                  <a:pt x="40" y="17"/>
                </a:lnTo>
                <a:lnTo>
                  <a:pt x="19" y="54"/>
                </a:lnTo>
                <a:lnTo>
                  <a:pt x="0" y="54"/>
                </a:lnTo>
                <a:lnTo>
                  <a:pt x="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39" name="Freeform 43"/>
          <p:cNvSpPr>
            <a:spLocks/>
          </p:cNvSpPr>
          <p:nvPr/>
        </p:nvSpPr>
        <p:spPr bwMode="gray">
          <a:xfrm>
            <a:off x="6764338" y="3802063"/>
            <a:ext cx="85725" cy="130175"/>
          </a:xfrm>
          <a:custGeom>
            <a:avLst/>
            <a:gdLst>
              <a:gd name="T0" fmla="*/ 0 w 119"/>
              <a:gd name="T1" fmla="*/ 2147483647 h 179"/>
              <a:gd name="T2" fmla="*/ 0 w 119"/>
              <a:gd name="T3" fmla="*/ 2147483647 h 179"/>
              <a:gd name="T4" fmla="*/ 0 w 119"/>
              <a:gd name="T5" fmla="*/ 2147483647 h 179"/>
              <a:gd name="T6" fmla="*/ 0 w 119"/>
              <a:gd name="T7" fmla="*/ 2147483647 h 179"/>
              <a:gd name="T8" fmla="*/ 0 w 119"/>
              <a:gd name="T9" fmla="*/ 0 h 179"/>
              <a:gd name="T10" fmla="*/ 2147483647 w 119"/>
              <a:gd name="T11" fmla="*/ 0 h 179"/>
              <a:gd name="T12" fmla="*/ 2147483647 w 119"/>
              <a:gd name="T13" fmla="*/ 2147483647 h 179"/>
              <a:gd name="T14" fmla="*/ 2147483647 w 119"/>
              <a:gd name="T15" fmla="*/ 2147483647 h 179"/>
              <a:gd name="T16" fmla="*/ 2147483647 w 119"/>
              <a:gd name="T17" fmla="*/ 0 h 179"/>
              <a:gd name="T18" fmla="*/ 2147483647 w 119"/>
              <a:gd name="T19" fmla="*/ 2147483647 h 179"/>
              <a:gd name="T20" fmla="*/ 2147483647 w 119"/>
              <a:gd name="T21" fmla="*/ 2147483647 h 179"/>
              <a:gd name="T22" fmla="*/ 2147483647 w 119"/>
              <a:gd name="T23" fmla="*/ 2147483647 h 179"/>
              <a:gd name="T24" fmla="*/ 2147483647 w 119"/>
              <a:gd name="T25" fmla="*/ 2147483647 h 179"/>
              <a:gd name="T26" fmla="*/ 2147483647 w 119"/>
              <a:gd name="T27" fmla="*/ 2147483647 h 179"/>
              <a:gd name="T28" fmla="*/ 2147483647 w 119"/>
              <a:gd name="T29" fmla="*/ 2147483647 h 179"/>
              <a:gd name="T30" fmla="*/ 2147483647 w 119"/>
              <a:gd name="T31" fmla="*/ 2147483647 h 179"/>
              <a:gd name="T32" fmla="*/ 2147483647 w 119"/>
              <a:gd name="T33" fmla="*/ 2147483647 h 179"/>
              <a:gd name="T34" fmla="*/ 2147483647 w 119"/>
              <a:gd name="T35" fmla="*/ 2147483647 h 179"/>
              <a:gd name="T36" fmla="*/ 2147483647 w 119"/>
              <a:gd name="T37" fmla="*/ 2147483647 h 179"/>
              <a:gd name="T38" fmla="*/ 2147483647 w 119"/>
              <a:gd name="T39" fmla="*/ 2147483647 h 179"/>
              <a:gd name="T40" fmla="*/ 2147483647 w 119"/>
              <a:gd name="T41" fmla="*/ 2147483647 h 179"/>
              <a:gd name="T42" fmla="*/ 2147483647 w 119"/>
              <a:gd name="T43" fmla="*/ 2147483647 h 179"/>
              <a:gd name="T44" fmla="*/ 2147483647 w 119"/>
              <a:gd name="T45" fmla="*/ 2147483647 h 179"/>
              <a:gd name="T46" fmla="*/ 2147483647 w 119"/>
              <a:gd name="T47" fmla="*/ 2147483647 h 179"/>
              <a:gd name="T48" fmla="*/ 2147483647 w 119"/>
              <a:gd name="T49" fmla="*/ 2147483647 h 179"/>
              <a:gd name="T50" fmla="*/ 2147483647 w 119"/>
              <a:gd name="T51" fmla="*/ 2147483647 h 179"/>
              <a:gd name="T52" fmla="*/ 2147483647 w 119"/>
              <a:gd name="T53" fmla="*/ 2147483647 h 179"/>
              <a:gd name="T54" fmla="*/ 2147483647 w 119"/>
              <a:gd name="T55" fmla="*/ 2147483647 h 179"/>
              <a:gd name="T56" fmla="*/ 2147483647 w 119"/>
              <a:gd name="T57" fmla="*/ 2147483647 h 179"/>
              <a:gd name="T58" fmla="*/ 2147483647 w 119"/>
              <a:gd name="T59" fmla="*/ 2147483647 h 179"/>
              <a:gd name="T60" fmla="*/ 0 w 119"/>
              <a:gd name="T61" fmla="*/ 2147483647 h 179"/>
              <a:gd name="T62" fmla="*/ 0 w 119"/>
              <a:gd name="T63" fmla="*/ 2147483647 h 179"/>
              <a:gd name="T64" fmla="*/ 0 w 119"/>
              <a:gd name="T65" fmla="*/ 2147483647 h 17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19"/>
              <a:gd name="T100" fmla="*/ 0 h 179"/>
              <a:gd name="T101" fmla="*/ 119 w 119"/>
              <a:gd name="T102" fmla="*/ 179 h 17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19" h="179">
                <a:moveTo>
                  <a:pt x="0" y="71"/>
                </a:moveTo>
                <a:lnTo>
                  <a:pt x="0" y="54"/>
                </a:lnTo>
                <a:lnTo>
                  <a:pt x="0" y="37"/>
                </a:lnTo>
                <a:lnTo>
                  <a:pt x="0" y="17"/>
                </a:lnTo>
                <a:lnTo>
                  <a:pt x="0" y="0"/>
                </a:lnTo>
                <a:lnTo>
                  <a:pt x="20" y="0"/>
                </a:lnTo>
                <a:lnTo>
                  <a:pt x="20" y="17"/>
                </a:lnTo>
                <a:lnTo>
                  <a:pt x="41" y="17"/>
                </a:lnTo>
                <a:lnTo>
                  <a:pt x="41" y="0"/>
                </a:lnTo>
                <a:lnTo>
                  <a:pt x="41" y="17"/>
                </a:lnTo>
                <a:lnTo>
                  <a:pt x="41" y="37"/>
                </a:lnTo>
                <a:lnTo>
                  <a:pt x="60" y="54"/>
                </a:lnTo>
                <a:lnTo>
                  <a:pt x="60" y="71"/>
                </a:lnTo>
                <a:lnTo>
                  <a:pt x="41" y="90"/>
                </a:lnTo>
                <a:lnTo>
                  <a:pt x="41" y="108"/>
                </a:lnTo>
                <a:lnTo>
                  <a:pt x="60" y="127"/>
                </a:lnTo>
                <a:lnTo>
                  <a:pt x="81" y="127"/>
                </a:lnTo>
                <a:lnTo>
                  <a:pt x="81" y="142"/>
                </a:lnTo>
                <a:lnTo>
                  <a:pt x="100" y="142"/>
                </a:lnTo>
                <a:lnTo>
                  <a:pt x="100" y="159"/>
                </a:lnTo>
                <a:lnTo>
                  <a:pt x="119" y="159"/>
                </a:lnTo>
                <a:lnTo>
                  <a:pt x="119" y="179"/>
                </a:lnTo>
                <a:lnTo>
                  <a:pt x="100" y="159"/>
                </a:lnTo>
                <a:lnTo>
                  <a:pt x="81" y="142"/>
                </a:lnTo>
                <a:lnTo>
                  <a:pt x="81" y="159"/>
                </a:lnTo>
                <a:lnTo>
                  <a:pt x="60" y="142"/>
                </a:lnTo>
                <a:lnTo>
                  <a:pt x="41" y="142"/>
                </a:lnTo>
                <a:lnTo>
                  <a:pt x="20" y="142"/>
                </a:lnTo>
                <a:lnTo>
                  <a:pt x="20" y="127"/>
                </a:lnTo>
                <a:lnTo>
                  <a:pt x="20" y="108"/>
                </a:lnTo>
                <a:lnTo>
                  <a:pt x="0" y="108"/>
                </a:lnTo>
                <a:lnTo>
                  <a:pt x="0" y="90"/>
                </a:lnTo>
                <a:lnTo>
                  <a:pt x="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0" name="Freeform 44"/>
          <p:cNvSpPr>
            <a:spLocks/>
          </p:cNvSpPr>
          <p:nvPr/>
        </p:nvSpPr>
        <p:spPr bwMode="gray">
          <a:xfrm>
            <a:off x="6850063" y="3932238"/>
            <a:ext cx="28575" cy="25400"/>
          </a:xfrm>
          <a:custGeom>
            <a:avLst/>
            <a:gdLst>
              <a:gd name="T0" fmla="*/ 2147483647 w 41"/>
              <a:gd name="T1" fmla="*/ 2147483647 h 34"/>
              <a:gd name="T2" fmla="*/ 2147483647 w 41"/>
              <a:gd name="T3" fmla="*/ 2147483647 h 34"/>
              <a:gd name="T4" fmla="*/ 2147483647 w 41"/>
              <a:gd name="T5" fmla="*/ 2147483647 h 34"/>
              <a:gd name="T6" fmla="*/ 2147483647 w 41"/>
              <a:gd name="T7" fmla="*/ 2147483647 h 34"/>
              <a:gd name="T8" fmla="*/ 2147483647 w 41"/>
              <a:gd name="T9" fmla="*/ 2147483647 h 34"/>
              <a:gd name="T10" fmla="*/ 2147483647 w 41"/>
              <a:gd name="T11" fmla="*/ 2147483647 h 34"/>
              <a:gd name="T12" fmla="*/ 2147483647 w 41"/>
              <a:gd name="T13" fmla="*/ 0 h 34"/>
              <a:gd name="T14" fmla="*/ 0 w 41"/>
              <a:gd name="T15" fmla="*/ 0 h 34"/>
              <a:gd name="T16" fmla="*/ 2147483647 w 41"/>
              <a:gd name="T17" fmla="*/ 0 h 34"/>
              <a:gd name="T18" fmla="*/ 2147483647 w 41"/>
              <a:gd name="T19" fmla="*/ 0 h 34"/>
              <a:gd name="T20" fmla="*/ 2147483647 w 41"/>
              <a:gd name="T21" fmla="*/ 2147483647 h 34"/>
              <a:gd name="T22" fmla="*/ 2147483647 w 41"/>
              <a:gd name="T23" fmla="*/ 2147483647 h 3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34"/>
              <a:gd name="T38" fmla="*/ 41 w 41"/>
              <a:gd name="T39" fmla="*/ 34 h 3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34">
                <a:moveTo>
                  <a:pt x="41" y="34"/>
                </a:moveTo>
                <a:lnTo>
                  <a:pt x="21" y="17"/>
                </a:lnTo>
                <a:lnTo>
                  <a:pt x="21" y="34"/>
                </a:lnTo>
                <a:lnTo>
                  <a:pt x="41" y="34"/>
                </a:lnTo>
                <a:lnTo>
                  <a:pt x="21" y="34"/>
                </a:lnTo>
                <a:lnTo>
                  <a:pt x="21" y="17"/>
                </a:lnTo>
                <a:lnTo>
                  <a:pt x="21" y="0"/>
                </a:ln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17"/>
                </a:lnTo>
                <a:lnTo>
                  <a:pt x="41" y="3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1" name="Freeform 45"/>
          <p:cNvSpPr>
            <a:spLocks/>
          </p:cNvSpPr>
          <p:nvPr/>
        </p:nvSpPr>
        <p:spPr bwMode="gray">
          <a:xfrm>
            <a:off x="6821488" y="3957638"/>
            <a:ext cx="28575" cy="23812"/>
          </a:xfrm>
          <a:custGeom>
            <a:avLst/>
            <a:gdLst>
              <a:gd name="T0" fmla="*/ 2147483647 w 38"/>
              <a:gd name="T1" fmla="*/ 0 h 37"/>
              <a:gd name="T2" fmla="*/ 2147483647 w 38"/>
              <a:gd name="T3" fmla="*/ 2147483647 h 37"/>
              <a:gd name="T4" fmla="*/ 2147483647 w 38"/>
              <a:gd name="T5" fmla="*/ 2147483647 h 37"/>
              <a:gd name="T6" fmla="*/ 0 w 38"/>
              <a:gd name="T7" fmla="*/ 2147483647 h 37"/>
              <a:gd name="T8" fmla="*/ 0 w 38"/>
              <a:gd name="T9" fmla="*/ 0 h 37"/>
              <a:gd name="T10" fmla="*/ 2147483647 w 38"/>
              <a:gd name="T11" fmla="*/ 0 h 37"/>
              <a:gd name="T12" fmla="*/ 2147483647 w 38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8"/>
              <a:gd name="T22" fmla="*/ 0 h 37"/>
              <a:gd name="T23" fmla="*/ 38 w 38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8" h="37">
                <a:moveTo>
                  <a:pt x="38" y="0"/>
                </a:moveTo>
                <a:lnTo>
                  <a:pt x="19" y="19"/>
                </a:lnTo>
                <a:lnTo>
                  <a:pt x="19" y="37"/>
                </a:lnTo>
                <a:lnTo>
                  <a:pt x="0" y="19"/>
                </a:lnTo>
                <a:lnTo>
                  <a:pt x="0" y="0"/>
                </a:lnTo>
                <a:lnTo>
                  <a:pt x="19" y="0"/>
                </a:lnTo>
                <a:lnTo>
                  <a:pt x="38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2" name="Freeform 46"/>
          <p:cNvSpPr>
            <a:spLocks/>
          </p:cNvSpPr>
          <p:nvPr/>
        </p:nvSpPr>
        <p:spPr bwMode="gray">
          <a:xfrm>
            <a:off x="6723063" y="3941763"/>
            <a:ext cx="58737" cy="52387"/>
          </a:xfrm>
          <a:custGeom>
            <a:avLst/>
            <a:gdLst>
              <a:gd name="T0" fmla="*/ 0 w 79"/>
              <a:gd name="T1" fmla="*/ 2147483647 h 71"/>
              <a:gd name="T2" fmla="*/ 0 w 79"/>
              <a:gd name="T3" fmla="*/ 2147483647 h 71"/>
              <a:gd name="T4" fmla="*/ 2147483647 w 79"/>
              <a:gd name="T5" fmla="*/ 2147483647 h 71"/>
              <a:gd name="T6" fmla="*/ 2147483647 w 79"/>
              <a:gd name="T7" fmla="*/ 2147483647 h 71"/>
              <a:gd name="T8" fmla="*/ 2147483647 w 79"/>
              <a:gd name="T9" fmla="*/ 0 h 71"/>
              <a:gd name="T10" fmla="*/ 2147483647 w 79"/>
              <a:gd name="T11" fmla="*/ 2147483647 h 71"/>
              <a:gd name="T12" fmla="*/ 2147483647 w 79"/>
              <a:gd name="T13" fmla="*/ 2147483647 h 71"/>
              <a:gd name="T14" fmla="*/ 2147483647 w 79"/>
              <a:gd name="T15" fmla="*/ 2147483647 h 71"/>
              <a:gd name="T16" fmla="*/ 2147483647 w 79"/>
              <a:gd name="T17" fmla="*/ 2147483647 h 71"/>
              <a:gd name="T18" fmla="*/ 2147483647 w 79"/>
              <a:gd name="T19" fmla="*/ 2147483647 h 71"/>
              <a:gd name="T20" fmla="*/ 0 w 79"/>
              <a:gd name="T21" fmla="*/ 2147483647 h 71"/>
              <a:gd name="T22" fmla="*/ 0 w 79"/>
              <a:gd name="T23" fmla="*/ 2147483647 h 7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9"/>
              <a:gd name="T37" fmla="*/ 0 h 71"/>
              <a:gd name="T38" fmla="*/ 79 w 79"/>
              <a:gd name="T39" fmla="*/ 71 h 7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9" h="71">
                <a:moveTo>
                  <a:pt x="0" y="71"/>
                </a:moveTo>
                <a:lnTo>
                  <a:pt x="0" y="36"/>
                </a:lnTo>
                <a:lnTo>
                  <a:pt x="40" y="17"/>
                </a:lnTo>
                <a:lnTo>
                  <a:pt x="59" y="17"/>
                </a:lnTo>
                <a:lnTo>
                  <a:pt x="59" y="0"/>
                </a:lnTo>
                <a:lnTo>
                  <a:pt x="59" y="17"/>
                </a:lnTo>
                <a:lnTo>
                  <a:pt x="79" y="17"/>
                </a:lnTo>
                <a:lnTo>
                  <a:pt x="59" y="17"/>
                </a:lnTo>
                <a:lnTo>
                  <a:pt x="40" y="17"/>
                </a:lnTo>
                <a:lnTo>
                  <a:pt x="19" y="54"/>
                </a:lnTo>
                <a:lnTo>
                  <a:pt x="0" y="54"/>
                </a:lnTo>
                <a:lnTo>
                  <a:pt x="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3" name="Freeform 47"/>
          <p:cNvSpPr>
            <a:spLocks/>
          </p:cNvSpPr>
          <p:nvPr/>
        </p:nvSpPr>
        <p:spPr bwMode="gray">
          <a:xfrm>
            <a:off x="6808788" y="3941763"/>
            <a:ext cx="28575" cy="15875"/>
          </a:xfrm>
          <a:custGeom>
            <a:avLst/>
            <a:gdLst>
              <a:gd name="T0" fmla="*/ 2147483647 w 40"/>
              <a:gd name="T1" fmla="*/ 0 h 17"/>
              <a:gd name="T2" fmla="*/ 2147483647 w 40"/>
              <a:gd name="T3" fmla="*/ 0 h 17"/>
              <a:gd name="T4" fmla="*/ 2147483647 w 40"/>
              <a:gd name="T5" fmla="*/ 2147483647 h 17"/>
              <a:gd name="T6" fmla="*/ 0 w 40"/>
              <a:gd name="T7" fmla="*/ 2147483647 h 17"/>
              <a:gd name="T8" fmla="*/ 0 w 40"/>
              <a:gd name="T9" fmla="*/ 0 h 17"/>
              <a:gd name="T10" fmla="*/ 2147483647 w 40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17"/>
              <a:gd name="T20" fmla="*/ 40 w 40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17">
                <a:moveTo>
                  <a:pt x="21" y="0"/>
                </a:moveTo>
                <a:lnTo>
                  <a:pt x="40" y="0"/>
                </a:lnTo>
                <a:lnTo>
                  <a:pt x="21" y="17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4" name="Freeform 48"/>
          <p:cNvSpPr>
            <a:spLocks/>
          </p:cNvSpPr>
          <p:nvPr/>
        </p:nvSpPr>
        <p:spPr bwMode="gray">
          <a:xfrm>
            <a:off x="6850063" y="3957638"/>
            <a:ext cx="14287" cy="12700"/>
          </a:xfrm>
          <a:custGeom>
            <a:avLst/>
            <a:gdLst>
              <a:gd name="T0" fmla="*/ 2147483647 w 21"/>
              <a:gd name="T1" fmla="*/ 0 h 19"/>
              <a:gd name="T2" fmla="*/ 2147483647 w 21"/>
              <a:gd name="T3" fmla="*/ 2147483647 h 19"/>
              <a:gd name="T4" fmla="*/ 0 w 21"/>
              <a:gd name="T5" fmla="*/ 2147483647 h 19"/>
              <a:gd name="T6" fmla="*/ 2147483647 w 21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19"/>
              <a:gd name="T14" fmla="*/ 21 w 21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19">
                <a:moveTo>
                  <a:pt x="21" y="0"/>
                </a:moveTo>
                <a:lnTo>
                  <a:pt x="21" y="19"/>
                </a:lnTo>
                <a:lnTo>
                  <a:pt x="0" y="19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5" name="Freeform 49"/>
          <p:cNvSpPr>
            <a:spLocks/>
          </p:cNvSpPr>
          <p:nvPr/>
        </p:nvSpPr>
        <p:spPr bwMode="gray">
          <a:xfrm>
            <a:off x="6837363" y="3932238"/>
            <a:ext cx="12700" cy="9525"/>
          </a:xfrm>
          <a:custGeom>
            <a:avLst/>
            <a:gdLst>
              <a:gd name="T0" fmla="*/ 0 w 19"/>
              <a:gd name="T1" fmla="*/ 0 h 17"/>
              <a:gd name="T2" fmla="*/ 2147483647 w 19"/>
              <a:gd name="T3" fmla="*/ 0 h 17"/>
              <a:gd name="T4" fmla="*/ 2147483647 w 19"/>
              <a:gd name="T5" fmla="*/ 2147483647 h 17"/>
              <a:gd name="T6" fmla="*/ 0 w 19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17"/>
              <a:gd name="T14" fmla="*/ 19 w 19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17">
                <a:moveTo>
                  <a:pt x="0" y="0"/>
                </a:moveTo>
                <a:lnTo>
                  <a:pt x="19" y="0"/>
                </a:lnTo>
                <a:lnTo>
                  <a:pt x="19" y="17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6" name="Freeform 50"/>
          <p:cNvSpPr>
            <a:spLocks/>
          </p:cNvSpPr>
          <p:nvPr/>
        </p:nvSpPr>
        <p:spPr bwMode="gray">
          <a:xfrm>
            <a:off x="6781800" y="3905250"/>
            <a:ext cx="12700" cy="26988"/>
          </a:xfrm>
          <a:custGeom>
            <a:avLst/>
            <a:gdLst>
              <a:gd name="T0" fmla="*/ 2147483647 w 21"/>
              <a:gd name="T1" fmla="*/ 2147483647 h 37"/>
              <a:gd name="T2" fmla="*/ 0 w 21"/>
              <a:gd name="T3" fmla="*/ 2147483647 h 37"/>
              <a:gd name="T4" fmla="*/ 0 w 21"/>
              <a:gd name="T5" fmla="*/ 2147483647 h 37"/>
              <a:gd name="T6" fmla="*/ 0 w 21"/>
              <a:gd name="T7" fmla="*/ 0 h 37"/>
              <a:gd name="T8" fmla="*/ 2147483647 w 21"/>
              <a:gd name="T9" fmla="*/ 2147483647 h 37"/>
              <a:gd name="T10" fmla="*/ 2147483647 w 21"/>
              <a:gd name="T11" fmla="*/ 2147483647 h 3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37"/>
              <a:gd name="T20" fmla="*/ 21 w 21"/>
              <a:gd name="T21" fmla="*/ 37 h 3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37">
                <a:moveTo>
                  <a:pt x="21" y="37"/>
                </a:moveTo>
                <a:lnTo>
                  <a:pt x="0" y="37"/>
                </a:lnTo>
                <a:lnTo>
                  <a:pt x="0" y="17"/>
                </a:lnTo>
                <a:lnTo>
                  <a:pt x="0" y="0"/>
                </a:lnTo>
                <a:lnTo>
                  <a:pt x="21" y="17"/>
                </a:lnTo>
                <a:lnTo>
                  <a:pt x="21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7" name="Freeform 51"/>
          <p:cNvSpPr>
            <a:spLocks/>
          </p:cNvSpPr>
          <p:nvPr/>
        </p:nvSpPr>
        <p:spPr bwMode="gray">
          <a:xfrm>
            <a:off x="6764338" y="3660775"/>
            <a:ext cx="30162" cy="50800"/>
          </a:xfrm>
          <a:custGeom>
            <a:avLst/>
            <a:gdLst>
              <a:gd name="T0" fmla="*/ 2147483647 w 41"/>
              <a:gd name="T1" fmla="*/ 2147483647 h 71"/>
              <a:gd name="T2" fmla="*/ 0 w 41"/>
              <a:gd name="T3" fmla="*/ 2147483647 h 71"/>
              <a:gd name="T4" fmla="*/ 0 w 41"/>
              <a:gd name="T5" fmla="*/ 2147483647 h 71"/>
              <a:gd name="T6" fmla="*/ 2147483647 w 41"/>
              <a:gd name="T7" fmla="*/ 2147483647 h 71"/>
              <a:gd name="T8" fmla="*/ 2147483647 w 41"/>
              <a:gd name="T9" fmla="*/ 2147483647 h 71"/>
              <a:gd name="T10" fmla="*/ 2147483647 w 41"/>
              <a:gd name="T11" fmla="*/ 0 h 71"/>
              <a:gd name="T12" fmla="*/ 2147483647 w 41"/>
              <a:gd name="T13" fmla="*/ 2147483647 h 71"/>
              <a:gd name="T14" fmla="*/ 2147483647 w 41"/>
              <a:gd name="T15" fmla="*/ 2147483647 h 71"/>
              <a:gd name="T16" fmla="*/ 2147483647 w 41"/>
              <a:gd name="T17" fmla="*/ 2147483647 h 7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"/>
              <a:gd name="T28" fmla="*/ 0 h 71"/>
              <a:gd name="T29" fmla="*/ 41 w 41"/>
              <a:gd name="T30" fmla="*/ 71 h 7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" h="71">
                <a:moveTo>
                  <a:pt x="20" y="71"/>
                </a:moveTo>
                <a:lnTo>
                  <a:pt x="0" y="71"/>
                </a:lnTo>
                <a:lnTo>
                  <a:pt x="0" y="54"/>
                </a:lnTo>
                <a:lnTo>
                  <a:pt x="20" y="37"/>
                </a:lnTo>
                <a:lnTo>
                  <a:pt x="20" y="18"/>
                </a:lnTo>
                <a:lnTo>
                  <a:pt x="41" y="0"/>
                </a:lnTo>
                <a:lnTo>
                  <a:pt x="41" y="18"/>
                </a:lnTo>
                <a:lnTo>
                  <a:pt x="41" y="71"/>
                </a:lnTo>
                <a:lnTo>
                  <a:pt x="2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8" name="Freeform 52"/>
          <p:cNvSpPr>
            <a:spLocks/>
          </p:cNvSpPr>
          <p:nvPr/>
        </p:nvSpPr>
        <p:spPr bwMode="gray">
          <a:xfrm>
            <a:off x="6977063" y="3467100"/>
            <a:ext cx="42862" cy="63500"/>
          </a:xfrm>
          <a:custGeom>
            <a:avLst/>
            <a:gdLst>
              <a:gd name="T0" fmla="*/ 2147483647 w 59"/>
              <a:gd name="T1" fmla="*/ 2147483647 h 90"/>
              <a:gd name="T2" fmla="*/ 2147483647 w 59"/>
              <a:gd name="T3" fmla="*/ 2147483647 h 90"/>
              <a:gd name="T4" fmla="*/ 2147483647 w 59"/>
              <a:gd name="T5" fmla="*/ 2147483647 h 90"/>
              <a:gd name="T6" fmla="*/ 2147483647 w 59"/>
              <a:gd name="T7" fmla="*/ 2147483647 h 90"/>
              <a:gd name="T8" fmla="*/ 0 w 59"/>
              <a:gd name="T9" fmla="*/ 2147483647 h 90"/>
              <a:gd name="T10" fmla="*/ 0 w 59"/>
              <a:gd name="T11" fmla="*/ 2147483647 h 90"/>
              <a:gd name="T12" fmla="*/ 0 w 59"/>
              <a:gd name="T13" fmla="*/ 2147483647 h 90"/>
              <a:gd name="T14" fmla="*/ 2147483647 w 59"/>
              <a:gd name="T15" fmla="*/ 2147483647 h 90"/>
              <a:gd name="T16" fmla="*/ 2147483647 w 59"/>
              <a:gd name="T17" fmla="*/ 0 h 90"/>
              <a:gd name="T18" fmla="*/ 2147483647 w 59"/>
              <a:gd name="T19" fmla="*/ 2147483647 h 90"/>
              <a:gd name="T20" fmla="*/ 2147483647 w 59"/>
              <a:gd name="T21" fmla="*/ 2147483647 h 90"/>
              <a:gd name="T22" fmla="*/ 2147483647 w 59"/>
              <a:gd name="T23" fmla="*/ 2147483647 h 90"/>
              <a:gd name="T24" fmla="*/ 2147483647 w 59"/>
              <a:gd name="T25" fmla="*/ 2147483647 h 90"/>
              <a:gd name="T26" fmla="*/ 2147483647 w 59"/>
              <a:gd name="T27" fmla="*/ 2147483647 h 90"/>
              <a:gd name="T28" fmla="*/ 2147483647 w 59"/>
              <a:gd name="T29" fmla="*/ 2147483647 h 90"/>
              <a:gd name="T30" fmla="*/ 2147483647 w 59"/>
              <a:gd name="T31" fmla="*/ 2147483647 h 90"/>
              <a:gd name="T32" fmla="*/ 2147483647 w 59"/>
              <a:gd name="T33" fmla="*/ 2147483647 h 90"/>
              <a:gd name="T34" fmla="*/ 2147483647 w 59"/>
              <a:gd name="T35" fmla="*/ 2147483647 h 9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9"/>
              <a:gd name="T55" fmla="*/ 0 h 90"/>
              <a:gd name="T56" fmla="*/ 59 w 59"/>
              <a:gd name="T57" fmla="*/ 90 h 9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9" h="90">
                <a:moveTo>
                  <a:pt x="21" y="53"/>
                </a:moveTo>
                <a:lnTo>
                  <a:pt x="40" y="53"/>
                </a:lnTo>
                <a:lnTo>
                  <a:pt x="21" y="36"/>
                </a:lnTo>
                <a:lnTo>
                  <a:pt x="21" y="53"/>
                </a:lnTo>
                <a:lnTo>
                  <a:pt x="0" y="53"/>
                </a:lnTo>
                <a:lnTo>
                  <a:pt x="0" y="36"/>
                </a:lnTo>
                <a:lnTo>
                  <a:pt x="0" y="19"/>
                </a:lnTo>
                <a:lnTo>
                  <a:pt x="21" y="19"/>
                </a:lnTo>
                <a:lnTo>
                  <a:pt x="40" y="0"/>
                </a:lnTo>
                <a:lnTo>
                  <a:pt x="40" y="19"/>
                </a:lnTo>
                <a:lnTo>
                  <a:pt x="59" y="19"/>
                </a:lnTo>
                <a:lnTo>
                  <a:pt x="59" y="36"/>
                </a:lnTo>
                <a:lnTo>
                  <a:pt x="59" y="53"/>
                </a:lnTo>
                <a:lnTo>
                  <a:pt x="40" y="53"/>
                </a:lnTo>
                <a:lnTo>
                  <a:pt x="40" y="90"/>
                </a:lnTo>
                <a:lnTo>
                  <a:pt x="21" y="90"/>
                </a:lnTo>
                <a:lnTo>
                  <a:pt x="21" y="73"/>
                </a:lnTo>
                <a:lnTo>
                  <a:pt x="21" y="53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49" name="Freeform 53"/>
          <p:cNvSpPr>
            <a:spLocks/>
          </p:cNvSpPr>
          <p:nvPr/>
        </p:nvSpPr>
        <p:spPr bwMode="gray">
          <a:xfrm>
            <a:off x="7032625" y="3452813"/>
            <a:ext cx="55563" cy="39687"/>
          </a:xfrm>
          <a:custGeom>
            <a:avLst/>
            <a:gdLst>
              <a:gd name="T0" fmla="*/ 2147483647 w 81"/>
              <a:gd name="T1" fmla="*/ 2147483647 h 54"/>
              <a:gd name="T2" fmla="*/ 2147483647 w 81"/>
              <a:gd name="T3" fmla="*/ 2147483647 h 54"/>
              <a:gd name="T4" fmla="*/ 2147483647 w 81"/>
              <a:gd name="T5" fmla="*/ 2147483647 h 54"/>
              <a:gd name="T6" fmla="*/ 2147483647 w 81"/>
              <a:gd name="T7" fmla="*/ 2147483647 h 54"/>
              <a:gd name="T8" fmla="*/ 2147483647 w 81"/>
              <a:gd name="T9" fmla="*/ 2147483647 h 54"/>
              <a:gd name="T10" fmla="*/ 0 w 81"/>
              <a:gd name="T11" fmla="*/ 2147483647 h 54"/>
              <a:gd name="T12" fmla="*/ 0 w 81"/>
              <a:gd name="T13" fmla="*/ 2147483647 h 54"/>
              <a:gd name="T14" fmla="*/ 2147483647 w 81"/>
              <a:gd name="T15" fmla="*/ 2147483647 h 54"/>
              <a:gd name="T16" fmla="*/ 2147483647 w 81"/>
              <a:gd name="T17" fmla="*/ 2147483647 h 54"/>
              <a:gd name="T18" fmla="*/ 2147483647 w 81"/>
              <a:gd name="T19" fmla="*/ 0 h 54"/>
              <a:gd name="T20" fmla="*/ 2147483647 w 81"/>
              <a:gd name="T21" fmla="*/ 0 h 54"/>
              <a:gd name="T22" fmla="*/ 2147483647 w 81"/>
              <a:gd name="T23" fmla="*/ 0 h 54"/>
              <a:gd name="T24" fmla="*/ 2147483647 w 81"/>
              <a:gd name="T25" fmla="*/ 2147483647 h 54"/>
              <a:gd name="T26" fmla="*/ 2147483647 w 81"/>
              <a:gd name="T27" fmla="*/ 2147483647 h 5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1"/>
              <a:gd name="T43" fmla="*/ 0 h 54"/>
              <a:gd name="T44" fmla="*/ 81 w 81"/>
              <a:gd name="T45" fmla="*/ 54 h 5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1" h="54">
                <a:moveTo>
                  <a:pt x="60" y="37"/>
                </a:moveTo>
                <a:lnTo>
                  <a:pt x="41" y="37"/>
                </a:lnTo>
                <a:lnTo>
                  <a:pt x="41" y="54"/>
                </a:lnTo>
                <a:lnTo>
                  <a:pt x="20" y="54"/>
                </a:lnTo>
                <a:lnTo>
                  <a:pt x="20" y="37"/>
                </a:lnTo>
                <a:lnTo>
                  <a:pt x="0" y="37"/>
                </a:lnTo>
                <a:lnTo>
                  <a:pt x="0" y="18"/>
                </a:lnTo>
                <a:lnTo>
                  <a:pt x="20" y="18"/>
                </a:lnTo>
                <a:lnTo>
                  <a:pt x="41" y="18"/>
                </a:lnTo>
                <a:lnTo>
                  <a:pt x="41" y="0"/>
                </a:lnTo>
                <a:lnTo>
                  <a:pt x="60" y="0"/>
                </a:lnTo>
                <a:lnTo>
                  <a:pt x="81" y="0"/>
                </a:lnTo>
                <a:lnTo>
                  <a:pt x="81" y="37"/>
                </a:lnTo>
                <a:lnTo>
                  <a:pt x="60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0" name="Freeform 54"/>
          <p:cNvSpPr>
            <a:spLocks/>
          </p:cNvSpPr>
          <p:nvPr/>
        </p:nvSpPr>
        <p:spPr bwMode="gray">
          <a:xfrm>
            <a:off x="7004050" y="3298825"/>
            <a:ext cx="238125" cy="182563"/>
          </a:xfrm>
          <a:custGeom>
            <a:avLst/>
            <a:gdLst>
              <a:gd name="T0" fmla="*/ 2147483647 w 340"/>
              <a:gd name="T1" fmla="*/ 2147483647 h 252"/>
              <a:gd name="T2" fmla="*/ 2147483647 w 340"/>
              <a:gd name="T3" fmla="*/ 2147483647 h 252"/>
              <a:gd name="T4" fmla="*/ 2147483647 w 340"/>
              <a:gd name="T5" fmla="*/ 2147483647 h 252"/>
              <a:gd name="T6" fmla="*/ 2147483647 w 340"/>
              <a:gd name="T7" fmla="*/ 2147483647 h 252"/>
              <a:gd name="T8" fmla="*/ 2147483647 w 340"/>
              <a:gd name="T9" fmla="*/ 2147483647 h 252"/>
              <a:gd name="T10" fmla="*/ 2147483647 w 340"/>
              <a:gd name="T11" fmla="*/ 2147483647 h 252"/>
              <a:gd name="T12" fmla="*/ 2147483647 w 340"/>
              <a:gd name="T13" fmla="*/ 2147483647 h 252"/>
              <a:gd name="T14" fmla="*/ 0 w 340"/>
              <a:gd name="T15" fmla="*/ 2147483647 h 252"/>
              <a:gd name="T16" fmla="*/ 0 w 340"/>
              <a:gd name="T17" fmla="*/ 2147483647 h 252"/>
              <a:gd name="T18" fmla="*/ 2147483647 w 340"/>
              <a:gd name="T19" fmla="*/ 2147483647 h 252"/>
              <a:gd name="T20" fmla="*/ 2147483647 w 340"/>
              <a:gd name="T21" fmla="*/ 2147483647 h 252"/>
              <a:gd name="T22" fmla="*/ 2147483647 w 340"/>
              <a:gd name="T23" fmla="*/ 2147483647 h 252"/>
              <a:gd name="T24" fmla="*/ 2147483647 w 340"/>
              <a:gd name="T25" fmla="*/ 2147483647 h 252"/>
              <a:gd name="T26" fmla="*/ 2147483647 w 340"/>
              <a:gd name="T27" fmla="*/ 2147483647 h 252"/>
              <a:gd name="T28" fmla="*/ 2147483647 w 340"/>
              <a:gd name="T29" fmla="*/ 2147483647 h 252"/>
              <a:gd name="T30" fmla="*/ 2147483647 w 340"/>
              <a:gd name="T31" fmla="*/ 2147483647 h 252"/>
              <a:gd name="T32" fmla="*/ 2147483647 w 340"/>
              <a:gd name="T33" fmla="*/ 2147483647 h 252"/>
              <a:gd name="T34" fmla="*/ 2147483647 w 340"/>
              <a:gd name="T35" fmla="*/ 2147483647 h 252"/>
              <a:gd name="T36" fmla="*/ 2147483647 w 340"/>
              <a:gd name="T37" fmla="*/ 2147483647 h 252"/>
              <a:gd name="T38" fmla="*/ 2147483647 w 340"/>
              <a:gd name="T39" fmla="*/ 2147483647 h 252"/>
              <a:gd name="T40" fmla="*/ 2147483647 w 340"/>
              <a:gd name="T41" fmla="*/ 2147483647 h 252"/>
              <a:gd name="T42" fmla="*/ 2147483647 w 340"/>
              <a:gd name="T43" fmla="*/ 2147483647 h 252"/>
              <a:gd name="T44" fmla="*/ 2147483647 w 340"/>
              <a:gd name="T45" fmla="*/ 2147483647 h 252"/>
              <a:gd name="T46" fmla="*/ 2147483647 w 340"/>
              <a:gd name="T47" fmla="*/ 2147483647 h 252"/>
              <a:gd name="T48" fmla="*/ 2147483647 w 340"/>
              <a:gd name="T49" fmla="*/ 2147483647 h 252"/>
              <a:gd name="T50" fmla="*/ 2147483647 w 340"/>
              <a:gd name="T51" fmla="*/ 2147483647 h 252"/>
              <a:gd name="T52" fmla="*/ 2147483647 w 340"/>
              <a:gd name="T53" fmla="*/ 0 h 252"/>
              <a:gd name="T54" fmla="*/ 2147483647 w 340"/>
              <a:gd name="T55" fmla="*/ 0 h 252"/>
              <a:gd name="T56" fmla="*/ 2147483647 w 340"/>
              <a:gd name="T57" fmla="*/ 0 h 252"/>
              <a:gd name="T58" fmla="*/ 2147483647 w 340"/>
              <a:gd name="T59" fmla="*/ 0 h 252"/>
              <a:gd name="T60" fmla="*/ 2147483647 w 340"/>
              <a:gd name="T61" fmla="*/ 2147483647 h 252"/>
              <a:gd name="T62" fmla="*/ 2147483647 w 340"/>
              <a:gd name="T63" fmla="*/ 2147483647 h 252"/>
              <a:gd name="T64" fmla="*/ 2147483647 w 340"/>
              <a:gd name="T65" fmla="*/ 2147483647 h 252"/>
              <a:gd name="T66" fmla="*/ 2147483647 w 340"/>
              <a:gd name="T67" fmla="*/ 2147483647 h 252"/>
              <a:gd name="T68" fmla="*/ 2147483647 w 340"/>
              <a:gd name="T69" fmla="*/ 2147483647 h 252"/>
              <a:gd name="T70" fmla="*/ 2147483647 w 340"/>
              <a:gd name="T71" fmla="*/ 2147483647 h 252"/>
              <a:gd name="T72" fmla="*/ 2147483647 w 340"/>
              <a:gd name="T73" fmla="*/ 2147483647 h 252"/>
              <a:gd name="T74" fmla="*/ 2147483647 w 340"/>
              <a:gd name="T75" fmla="*/ 2147483647 h 252"/>
              <a:gd name="T76" fmla="*/ 2147483647 w 340"/>
              <a:gd name="T77" fmla="*/ 2147483647 h 252"/>
              <a:gd name="T78" fmla="*/ 2147483647 w 340"/>
              <a:gd name="T79" fmla="*/ 2147483647 h 252"/>
              <a:gd name="T80" fmla="*/ 2147483647 w 340"/>
              <a:gd name="T81" fmla="*/ 2147483647 h 252"/>
              <a:gd name="T82" fmla="*/ 2147483647 w 340"/>
              <a:gd name="T83" fmla="*/ 2147483647 h 252"/>
              <a:gd name="T84" fmla="*/ 2147483647 w 340"/>
              <a:gd name="T85" fmla="*/ 2147483647 h 252"/>
              <a:gd name="T86" fmla="*/ 2147483647 w 340"/>
              <a:gd name="T87" fmla="*/ 2147483647 h 252"/>
              <a:gd name="T88" fmla="*/ 2147483647 w 340"/>
              <a:gd name="T89" fmla="*/ 2147483647 h 252"/>
              <a:gd name="T90" fmla="*/ 2147483647 w 340"/>
              <a:gd name="T91" fmla="*/ 2147483647 h 252"/>
              <a:gd name="T92" fmla="*/ 2147483647 w 340"/>
              <a:gd name="T93" fmla="*/ 2147483647 h 252"/>
              <a:gd name="T94" fmla="*/ 2147483647 w 340"/>
              <a:gd name="T95" fmla="*/ 2147483647 h 252"/>
              <a:gd name="T96" fmla="*/ 2147483647 w 340"/>
              <a:gd name="T97" fmla="*/ 2147483647 h 252"/>
              <a:gd name="T98" fmla="*/ 2147483647 w 340"/>
              <a:gd name="T99" fmla="*/ 2147483647 h 252"/>
              <a:gd name="T100" fmla="*/ 2147483647 w 340"/>
              <a:gd name="T101" fmla="*/ 2147483647 h 252"/>
              <a:gd name="T102" fmla="*/ 2147483647 w 340"/>
              <a:gd name="T103" fmla="*/ 2147483647 h 252"/>
              <a:gd name="T104" fmla="*/ 2147483647 w 340"/>
              <a:gd name="T105" fmla="*/ 2147483647 h 252"/>
              <a:gd name="T106" fmla="*/ 2147483647 w 340"/>
              <a:gd name="T107" fmla="*/ 2147483647 h 252"/>
              <a:gd name="T108" fmla="*/ 2147483647 w 340"/>
              <a:gd name="T109" fmla="*/ 2147483647 h 252"/>
              <a:gd name="T110" fmla="*/ 2147483647 w 340"/>
              <a:gd name="T111" fmla="*/ 2147483647 h 252"/>
              <a:gd name="T112" fmla="*/ 2147483647 w 340"/>
              <a:gd name="T113" fmla="*/ 2147483647 h 25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0"/>
              <a:gd name="T172" fmla="*/ 0 h 252"/>
              <a:gd name="T173" fmla="*/ 340 w 340"/>
              <a:gd name="T174" fmla="*/ 252 h 25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0" h="252">
                <a:moveTo>
                  <a:pt x="140" y="233"/>
                </a:moveTo>
                <a:lnTo>
                  <a:pt x="140" y="215"/>
                </a:lnTo>
                <a:lnTo>
                  <a:pt x="121" y="215"/>
                </a:lnTo>
                <a:lnTo>
                  <a:pt x="100" y="215"/>
                </a:lnTo>
                <a:lnTo>
                  <a:pt x="81" y="215"/>
                </a:lnTo>
                <a:lnTo>
                  <a:pt x="60" y="215"/>
                </a:lnTo>
                <a:lnTo>
                  <a:pt x="40" y="215"/>
                </a:lnTo>
                <a:lnTo>
                  <a:pt x="0" y="233"/>
                </a:lnTo>
                <a:lnTo>
                  <a:pt x="0" y="215"/>
                </a:lnTo>
                <a:lnTo>
                  <a:pt x="19" y="215"/>
                </a:lnTo>
                <a:lnTo>
                  <a:pt x="60" y="196"/>
                </a:lnTo>
                <a:lnTo>
                  <a:pt x="81" y="179"/>
                </a:lnTo>
                <a:lnTo>
                  <a:pt x="100" y="179"/>
                </a:lnTo>
                <a:lnTo>
                  <a:pt x="121" y="179"/>
                </a:lnTo>
                <a:lnTo>
                  <a:pt x="140" y="179"/>
                </a:lnTo>
                <a:lnTo>
                  <a:pt x="140" y="162"/>
                </a:lnTo>
                <a:lnTo>
                  <a:pt x="159" y="162"/>
                </a:lnTo>
                <a:lnTo>
                  <a:pt x="180" y="162"/>
                </a:lnTo>
                <a:lnTo>
                  <a:pt x="180" y="142"/>
                </a:lnTo>
                <a:lnTo>
                  <a:pt x="200" y="142"/>
                </a:lnTo>
                <a:lnTo>
                  <a:pt x="200" y="125"/>
                </a:lnTo>
                <a:lnTo>
                  <a:pt x="200" y="142"/>
                </a:lnTo>
                <a:lnTo>
                  <a:pt x="221" y="125"/>
                </a:lnTo>
                <a:lnTo>
                  <a:pt x="259" y="110"/>
                </a:lnTo>
                <a:lnTo>
                  <a:pt x="280" y="91"/>
                </a:lnTo>
                <a:lnTo>
                  <a:pt x="280" y="37"/>
                </a:lnTo>
                <a:lnTo>
                  <a:pt x="280" y="0"/>
                </a:lnTo>
                <a:lnTo>
                  <a:pt x="299" y="0"/>
                </a:lnTo>
                <a:lnTo>
                  <a:pt x="321" y="0"/>
                </a:lnTo>
                <a:lnTo>
                  <a:pt x="340" y="0"/>
                </a:lnTo>
                <a:lnTo>
                  <a:pt x="340" y="20"/>
                </a:lnTo>
                <a:lnTo>
                  <a:pt x="340" y="37"/>
                </a:lnTo>
                <a:lnTo>
                  <a:pt x="340" y="54"/>
                </a:lnTo>
                <a:lnTo>
                  <a:pt x="340" y="73"/>
                </a:lnTo>
                <a:lnTo>
                  <a:pt x="340" y="91"/>
                </a:lnTo>
                <a:lnTo>
                  <a:pt x="321" y="91"/>
                </a:lnTo>
                <a:lnTo>
                  <a:pt x="321" y="110"/>
                </a:lnTo>
                <a:lnTo>
                  <a:pt x="321" y="125"/>
                </a:lnTo>
                <a:lnTo>
                  <a:pt x="321" y="142"/>
                </a:lnTo>
                <a:lnTo>
                  <a:pt x="299" y="142"/>
                </a:lnTo>
                <a:lnTo>
                  <a:pt x="299" y="162"/>
                </a:lnTo>
                <a:lnTo>
                  <a:pt x="299" y="179"/>
                </a:lnTo>
                <a:lnTo>
                  <a:pt x="299" y="196"/>
                </a:lnTo>
                <a:lnTo>
                  <a:pt x="280" y="196"/>
                </a:lnTo>
                <a:lnTo>
                  <a:pt x="280" y="179"/>
                </a:lnTo>
                <a:lnTo>
                  <a:pt x="280" y="196"/>
                </a:lnTo>
                <a:lnTo>
                  <a:pt x="259" y="196"/>
                </a:lnTo>
                <a:lnTo>
                  <a:pt x="259" y="215"/>
                </a:lnTo>
                <a:lnTo>
                  <a:pt x="240" y="215"/>
                </a:lnTo>
                <a:lnTo>
                  <a:pt x="221" y="215"/>
                </a:lnTo>
                <a:lnTo>
                  <a:pt x="200" y="215"/>
                </a:lnTo>
                <a:lnTo>
                  <a:pt x="180" y="196"/>
                </a:lnTo>
                <a:lnTo>
                  <a:pt x="180" y="215"/>
                </a:lnTo>
                <a:lnTo>
                  <a:pt x="159" y="215"/>
                </a:lnTo>
                <a:lnTo>
                  <a:pt x="159" y="233"/>
                </a:lnTo>
                <a:lnTo>
                  <a:pt x="140" y="252"/>
                </a:lnTo>
                <a:lnTo>
                  <a:pt x="140" y="233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1" name="Freeform 55"/>
          <p:cNvSpPr>
            <a:spLocks/>
          </p:cNvSpPr>
          <p:nvPr/>
        </p:nvSpPr>
        <p:spPr bwMode="gray">
          <a:xfrm>
            <a:off x="7200900" y="3195638"/>
            <a:ext cx="127000" cy="92075"/>
          </a:xfrm>
          <a:custGeom>
            <a:avLst/>
            <a:gdLst>
              <a:gd name="T0" fmla="*/ 2147483647 w 183"/>
              <a:gd name="T1" fmla="*/ 2147483647 h 126"/>
              <a:gd name="T2" fmla="*/ 2147483647 w 183"/>
              <a:gd name="T3" fmla="*/ 2147483647 h 126"/>
              <a:gd name="T4" fmla="*/ 2147483647 w 183"/>
              <a:gd name="T5" fmla="*/ 2147483647 h 126"/>
              <a:gd name="T6" fmla="*/ 2147483647 w 183"/>
              <a:gd name="T7" fmla="*/ 2147483647 h 126"/>
              <a:gd name="T8" fmla="*/ 2147483647 w 183"/>
              <a:gd name="T9" fmla="*/ 2147483647 h 126"/>
              <a:gd name="T10" fmla="*/ 2147483647 w 183"/>
              <a:gd name="T11" fmla="*/ 0 h 126"/>
              <a:gd name="T12" fmla="*/ 2147483647 w 183"/>
              <a:gd name="T13" fmla="*/ 2147483647 h 126"/>
              <a:gd name="T14" fmla="*/ 2147483647 w 183"/>
              <a:gd name="T15" fmla="*/ 2147483647 h 126"/>
              <a:gd name="T16" fmla="*/ 2147483647 w 183"/>
              <a:gd name="T17" fmla="*/ 2147483647 h 126"/>
              <a:gd name="T18" fmla="*/ 2147483647 w 183"/>
              <a:gd name="T19" fmla="*/ 2147483647 h 126"/>
              <a:gd name="T20" fmla="*/ 2147483647 w 183"/>
              <a:gd name="T21" fmla="*/ 2147483647 h 126"/>
              <a:gd name="T22" fmla="*/ 2147483647 w 183"/>
              <a:gd name="T23" fmla="*/ 2147483647 h 126"/>
              <a:gd name="T24" fmla="*/ 2147483647 w 183"/>
              <a:gd name="T25" fmla="*/ 2147483647 h 126"/>
              <a:gd name="T26" fmla="*/ 2147483647 w 183"/>
              <a:gd name="T27" fmla="*/ 2147483647 h 126"/>
              <a:gd name="T28" fmla="*/ 2147483647 w 183"/>
              <a:gd name="T29" fmla="*/ 2147483647 h 126"/>
              <a:gd name="T30" fmla="*/ 2147483647 w 183"/>
              <a:gd name="T31" fmla="*/ 2147483647 h 126"/>
              <a:gd name="T32" fmla="*/ 2147483647 w 183"/>
              <a:gd name="T33" fmla="*/ 2147483647 h 126"/>
              <a:gd name="T34" fmla="*/ 2147483647 w 183"/>
              <a:gd name="T35" fmla="*/ 2147483647 h 126"/>
              <a:gd name="T36" fmla="*/ 2147483647 w 183"/>
              <a:gd name="T37" fmla="*/ 2147483647 h 126"/>
              <a:gd name="T38" fmla="*/ 2147483647 w 183"/>
              <a:gd name="T39" fmla="*/ 2147483647 h 126"/>
              <a:gd name="T40" fmla="*/ 2147483647 w 183"/>
              <a:gd name="T41" fmla="*/ 2147483647 h 126"/>
              <a:gd name="T42" fmla="*/ 2147483647 w 183"/>
              <a:gd name="T43" fmla="*/ 2147483647 h 126"/>
              <a:gd name="T44" fmla="*/ 2147483647 w 183"/>
              <a:gd name="T45" fmla="*/ 2147483647 h 126"/>
              <a:gd name="T46" fmla="*/ 2147483647 w 183"/>
              <a:gd name="T47" fmla="*/ 2147483647 h 126"/>
              <a:gd name="T48" fmla="*/ 2147483647 w 183"/>
              <a:gd name="T49" fmla="*/ 2147483647 h 126"/>
              <a:gd name="T50" fmla="*/ 2147483647 w 183"/>
              <a:gd name="T51" fmla="*/ 2147483647 h 126"/>
              <a:gd name="T52" fmla="*/ 2147483647 w 183"/>
              <a:gd name="T53" fmla="*/ 2147483647 h 126"/>
              <a:gd name="T54" fmla="*/ 2147483647 w 183"/>
              <a:gd name="T55" fmla="*/ 2147483647 h 126"/>
              <a:gd name="T56" fmla="*/ 2147483647 w 183"/>
              <a:gd name="T57" fmla="*/ 2147483647 h 126"/>
              <a:gd name="T58" fmla="*/ 0 w 183"/>
              <a:gd name="T59" fmla="*/ 2147483647 h 126"/>
              <a:gd name="T60" fmla="*/ 0 w 183"/>
              <a:gd name="T61" fmla="*/ 2147483647 h 126"/>
              <a:gd name="T62" fmla="*/ 0 w 183"/>
              <a:gd name="T63" fmla="*/ 2147483647 h 126"/>
              <a:gd name="T64" fmla="*/ 2147483647 w 183"/>
              <a:gd name="T65" fmla="*/ 2147483647 h 12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83"/>
              <a:gd name="T100" fmla="*/ 0 h 126"/>
              <a:gd name="T101" fmla="*/ 183 w 183"/>
              <a:gd name="T102" fmla="*/ 126 h 12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83" h="126">
                <a:moveTo>
                  <a:pt x="19" y="72"/>
                </a:moveTo>
                <a:lnTo>
                  <a:pt x="41" y="72"/>
                </a:lnTo>
                <a:lnTo>
                  <a:pt x="60" y="72"/>
                </a:lnTo>
                <a:lnTo>
                  <a:pt x="60" y="36"/>
                </a:lnTo>
                <a:lnTo>
                  <a:pt x="60" y="19"/>
                </a:lnTo>
                <a:lnTo>
                  <a:pt x="60" y="0"/>
                </a:lnTo>
                <a:lnTo>
                  <a:pt x="81" y="19"/>
                </a:lnTo>
                <a:lnTo>
                  <a:pt x="119" y="36"/>
                </a:lnTo>
                <a:lnTo>
                  <a:pt x="140" y="53"/>
                </a:lnTo>
                <a:lnTo>
                  <a:pt x="162" y="53"/>
                </a:lnTo>
                <a:lnTo>
                  <a:pt x="183" y="53"/>
                </a:lnTo>
                <a:lnTo>
                  <a:pt x="162" y="53"/>
                </a:lnTo>
                <a:lnTo>
                  <a:pt x="162" y="72"/>
                </a:lnTo>
                <a:lnTo>
                  <a:pt x="183" y="72"/>
                </a:lnTo>
                <a:lnTo>
                  <a:pt x="162" y="72"/>
                </a:lnTo>
                <a:lnTo>
                  <a:pt x="140" y="72"/>
                </a:lnTo>
                <a:lnTo>
                  <a:pt x="119" y="90"/>
                </a:lnTo>
                <a:lnTo>
                  <a:pt x="119" y="109"/>
                </a:lnTo>
                <a:lnTo>
                  <a:pt x="100" y="126"/>
                </a:lnTo>
                <a:lnTo>
                  <a:pt x="81" y="109"/>
                </a:lnTo>
                <a:lnTo>
                  <a:pt x="60" y="109"/>
                </a:lnTo>
                <a:lnTo>
                  <a:pt x="60" y="90"/>
                </a:lnTo>
                <a:lnTo>
                  <a:pt x="60" y="109"/>
                </a:lnTo>
                <a:lnTo>
                  <a:pt x="41" y="90"/>
                </a:lnTo>
                <a:lnTo>
                  <a:pt x="19" y="90"/>
                </a:lnTo>
                <a:lnTo>
                  <a:pt x="19" y="109"/>
                </a:lnTo>
                <a:lnTo>
                  <a:pt x="19" y="126"/>
                </a:lnTo>
                <a:lnTo>
                  <a:pt x="41" y="126"/>
                </a:lnTo>
                <a:lnTo>
                  <a:pt x="19" y="126"/>
                </a:lnTo>
                <a:lnTo>
                  <a:pt x="0" y="126"/>
                </a:lnTo>
                <a:lnTo>
                  <a:pt x="0" y="109"/>
                </a:lnTo>
                <a:lnTo>
                  <a:pt x="0" y="90"/>
                </a:lnTo>
                <a:lnTo>
                  <a:pt x="19" y="72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2" name="Freeform 56"/>
          <p:cNvSpPr>
            <a:spLocks/>
          </p:cNvSpPr>
          <p:nvPr/>
        </p:nvSpPr>
        <p:spPr bwMode="gray">
          <a:xfrm>
            <a:off x="7327900" y="3221038"/>
            <a:ext cx="15875" cy="28575"/>
          </a:xfrm>
          <a:custGeom>
            <a:avLst/>
            <a:gdLst>
              <a:gd name="T0" fmla="*/ 2147483647 w 19"/>
              <a:gd name="T1" fmla="*/ 0 h 36"/>
              <a:gd name="T2" fmla="*/ 2147483647 w 19"/>
              <a:gd name="T3" fmla="*/ 2147483647 h 36"/>
              <a:gd name="T4" fmla="*/ 0 w 19"/>
              <a:gd name="T5" fmla="*/ 2147483647 h 36"/>
              <a:gd name="T6" fmla="*/ 0 w 19"/>
              <a:gd name="T7" fmla="*/ 2147483647 h 36"/>
              <a:gd name="T8" fmla="*/ 0 w 19"/>
              <a:gd name="T9" fmla="*/ 0 h 36"/>
              <a:gd name="T10" fmla="*/ 2147483647 w 19"/>
              <a:gd name="T11" fmla="*/ 0 h 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36"/>
              <a:gd name="T20" fmla="*/ 19 w 19"/>
              <a:gd name="T21" fmla="*/ 36 h 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36">
                <a:moveTo>
                  <a:pt x="19" y="0"/>
                </a:moveTo>
                <a:lnTo>
                  <a:pt x="19" y="17"/>
                </a:lnTo>
                <a:lnTo>
                  <a:pt x="0" y="36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3" name="Freeform 57"/>
          <p:cNvSpPr>
            <a:spLocks/>
          </p:cNvSpPr>
          <p:nvPr/>
        </p:nvSpPr>
        <p:spPr bwMode="gray">
          <a:xfrm>
            <a:off x="7426325" y="3170238"/>
            <a:ext cx="0" cy="25400"/>
          </a:xfrm>
          <a:custGeom>
            <a:avLst/>
            <a:gdLst>
              <a:gd name="T0" fmla="*/ 2147483647 h 35"/>
              <a:gd name="T1" fmla="*/ 0 h 35"/>
              <a:gd name="T2" fmla="*/ 2147483647 h 35"/>
              <a:gd name="T3" fmla="*/ 2147483647 h 35"/>
              <a:gd name="T4" fmla="*/ 2147483647 h 35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5"/>
              <a:gd name="T11" fmla="*/ 35 h 35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5">
                <a:moveTo>
                  <a:pt x="0" y="17"/>
                </a:moveTo>
                <a:lnTo>
                  <a:pt x="0" y="0"/>
                </a:lnTo>
                <a:lnTo>
                  <a:pt x="0" y="17"/>
                </a:lnTo>
                <a:lnTo>
                  <a:pt x="0" y="35"/>
                </a:lnTo>
                <a:lnTo>
                  <a:pt x="0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4" name="Freeform 58"/>
          <p:cNvSpPr>
            <a:spLocks/>
          </p:cNvSpPr>
          <p:nvPr/>
        </p:nvSpPr>
        <p:spPr bwMode="gray">
          <a:xfrm>
            <a:off x="7242175" y="2963863"/>
            <a:ext cx="57150" cy="220662"/>
          </a:xfrm>
          <a:custGeom>
            <a:avLst/>
            <a:gdLst>
              <a:gd name="T0" fmla="*/ 2147483647 w 80"/>
              <a:gd name="T1" fmla="*/ 2147483647 h 303"/>
              <a:gd name="T2" fmla="*/ 2147483647 w 80"/>
              <a:gd name="T3" fmla="*/ 2147483647 h 303"/>
              <a:gd name="T4" fmla="*/ 2147483647 w 80"/>
              <a:gd name="T5" fmla="*/ 2147483647 h 303"/>
              <a:gd name="T6" fmla="*/ 2147483647 w 80"/>
              <a:gd name="T7" fmla="*/ 2147483647 h 303"/>
              <a:gd name="T8" fmla="*/ 2147483647 w 80"/>
              <a:gd name="T9" fmla="*/ 2147483647 h 303"/>
              <a:gd name="T10" fmla="*/ 2147483647 w 80"/>
              <a:gd name="T11" fmla="*/ 2147483647 h 303"/>
              <a:gd name="T12" fmla="*/ 2147483647 w 80"/>
              <a:gd name="T13" fmla="*/ 2147483647 h 303"/>
              <a:gd name="T14" fmla="*/ 2147483647 w 80"/>
              <a:gd name="T15" fmla="*/ 2147483647 h 303"/>
              <a:gd name="T16" fmla="*/ 2147483647 w 80"/>
              <a:gd name="T17" fmla="*/ 2147483647 h 303"/>
              <a:gd name="T18" fmla="*/ 0 w 80"/>
              <a:gd name="T19" fmla="*/ 2147483647 h 303"/>
              <a:gd name="T20" fmla="*/ 0 w 80"/>
              <a:gd name="T21" fmla="*/ 2147483647 h 303"/>
              <a:gd name="T22" fmla="*/ 0 w 80"/>
              <a:gd name="T23" fmla="*/ 2147483647 h 303"/>
              <a:gd name="T24" fmla="*/ 0 w 80"/>
              <a:gd name="T25" fmla="*/ 2147483647 h 303"/>
              <a:gd name="T26" fmla="*/ 0 w 80"/>
              <a:gd name="T27" fmla="*/ 2147483647 h 303"/>
              <a:gd name="T28" fmla="*/ 0 w 80"/>
              <a:gd name="T29" fmla="*/ 2147483647 h 303"/>
              <a:gd name="T30" fmla="*/ 0 w 80"/>
              <a:gd name="T31" fmla="*/ 2147483647 h 303"/>
              <a:gd name="T32" fmla="*/ 0 w 80"/>
              <a:gd name="T33" fmla="*/ 2147483647 h 303"/>
              <a:gd name="T34" fmla="*/ 0 w 80"/>
              <a:gd name="T35" fmla="*/ 2147483647 h 303"/>
              <a:gd name="T36" fmla="*/ 0 w 80"/>
              <a:gd name="T37" fmla="*/ 2147483647 h 303"/>
              <a:gd name="T38" fmla="*/ 0 w 80"/>
              <a:gd name="T39" fmla="*/ 2147483647 h 303"/>
              <a:gd name="T40" fmla="*/ 0 w 80"/>
              <a:gd name="T41" fmla="*/ 2147483647 h 303"/>
              <a:gd name="T42" fmla="*/ 0 w 80"/>
              <a:gd name="T43" fmla="*/ 2147483647 h 303"/>
              <a:gd name="T44" fmla="*/ 0 w 80"/>
              <a:gd name="T45" fmla="*/ 2147483647 h 303"/>
              <a:gd name="T46" fmla="*/ 2147483647 w 80"/>
              <a:gd name="T47" fmla="*/ 2147483647 h 303"/>
              <a:gd name="T48" fmla="*/ 2147483647 w 80"/>
              <a:gd name="T49" fmla="*/ 2147483647 h 303"/>
              <a:gd name="T50" fmla="*/ 2147483647 w 80"/>
              <a:gd name="T51" fmla="*/ 0 h 303"/>
              <a:gd name="T52" fmla="*/ 2147483647 w 80"/>
              <a:gd name="T53" fmla="*/ 2147483647 h 303"/>
              <a:gd name="T54" fmla="*/ 2147483647 w 80"/>
              <a:gd name="T55" fmla="*/ 2147483647 h 303"/>
              <a:gd name="T56" fmla="*/ 2147483647 w 80"/>
              <a:gd name="T57" fmla="*/ 2147483647 h 303"/>
              <a:gd name="T58" fmla="*/ 2147483647 w 80"/>
              <a:gd name="T59" fmla="*/ 2147483647 h 303"/>
              <a:gd name="T60" fmla="*/ 2147483647 w 80"/>
              <a:gd name="T61" fmla="*/ 2147483647 h 303"/>
              <a:gd name="T62" fmla="*/ 2147483647 w 80"/>
              <a:gd name="T63" fmla="*/ 2147483647 h 303"/>
              <a:gd name="T64" fmla="*/ 2147483647 w 80"/>
              <a:gd name="T65" fmla="*/ 2147483647 h 303"/>
              <a:gd name="T66" fmla="*/ 2147483647 w 80"/>
              <a:gd name="T67" fmla="*/ 2147483647 h 303"/>
              <a:gd name="T68" fmla="*/ 2147483647 w 80"/>
              <a:gd name="T69" fmla="*/ 2147483647 h 303"/>
              <a:gd name="T70" fmla="*/ 2147483647 w 80"/>
              <a:gd name="T71" fmla="*/ 2147483647 h 303"/>
              <a:gd name="T72" fmla="*/ 2147483647 w 80"/>
              <a:gd name="T73" fmla="*/ 2147483647 h 30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0"/>
              <a:gd name="T112" fmla="*/ 0 h 303"/>
              <a:gd name="T113" fmla="*/ 80 w 80"/>
              <a:gd name="T114" fmla="*/ 303 h 30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0" h="303">
                <a:moveTo>
                  <a:pt x="59" y="178"/>
                </a:moveTo>
                <a:lnTo>
                  <a:pt x="40" y="198"/>
                </a:lnTo>
                <a:lnTo>
                  <a:pt x="21" y="215"/>
                </a:lnTo>
                <a:lnTo>
                  <a:pt x="21" y="234"/>
                </a:lnTo>
                <a:lnTo>
                  <a:pt x="40" y="267"/>
                </a:lnTo>
                <a:lnTo>
                  <a:pt x="59" y="286"/>
                </a:lnTo>
                <a:lnTo>
                  <a:pt x="40" y="286"/>
                </a:lnTo>
                <a:lnTo>
                  <a:pt x="40" y="267"/>
                </a:lnTo>
                <a:lnTo>
                  <a:pt x="21" y="286"/>
                </a:lnTo>
                <a:lnTo>
                  <a:pt x="0" y="303"/>
                </a:lnTo>
                <a:lnTo>
                  <a:pt x="0" y="286"/>
                </a:lnTo>
                <a:lnTo>
                  <a:pt x="0" y="267"/>
                </a:lnTo>
                <a:lnTo>
                  <a:pt x="0" y="250"/>
                </a:lnTo>
                <a:lnTo>
                  <a:pt x="0" y="234"/>
                </a:lnTo>
                <a:lnTo>
                  <a:pt x="0" y="215"/>
                </a:lnTo>
                <a:lnTo>
                  <a:pt x="0" y="198"/>
                </a:lnTo>
                <a:lnTo>
                  <a:pt x="0" y="178"/>
                </a:lnTo>
                <a:lnTo>
                  <a:pt x="0" y="161"/>
                </a:lnTo>
                <a:lnTo>
                  <a:pt x="0" y="144"/>
                </a:lnTo>
                <a:lnTo>
                  <a:pt x="0" y="107"/>
                </a:lnTo>
                <a:lnTo>
                  <a:pt x="0" y="90"/>
                </a:lnTo>
                <a:lnTo>
                  <a:pt x="0" y="54"/>
                </a:lnTo>
                <a:lnTo>
                  <a:pt x="0" y="35"/>
                </a:lnTo>
                <a:lnTo>
                  <a:pt x="21" y="35"/>
                </a:lnTo>
                <a:lnTo>
                  <a:pt x="21" y="17"/>
                </a:lnTo>
                <a:lnTo>
                  <a:pt x="21" y="0"/>
                </a:lnTo>
                <a:lnTo>
                  <a:pt x="40" y="17"/>
                </a:lnTo>
                <a:lnTo>
                  <a:pt x="40" y="35"/>
                </a:lnTo>
                <a:lnTo>
                  <a:pt x="40" y="54"/>
                </a:lnTo>
                <a:lnTo>
                  <a:pt x="40" y="71"/>
                </a:lnTo>
                <a:lnTo>
                  <a:pt x="40" y="90"/>
                </a:lnTo>
                <a:lnTo>
                  <a:pt x="40" y="107"/>
                </a:lnTo>
                <a:lnTo>
                  <a:pt x="59" y="125"/>
                </a:lnTo>
                <a:lnTo>
                  <a:pt x="59" y="161"/>
                </a:lnTo>
                <a:lnTo>
                  <a:pt x="80" y="198"/>
                </a:lnTo>
                <a:lnTo>
                  <a:pt x="59" y="198"/>
                </a:lnTo>
                <a:lnTo>
                  <a:pt x="59" y="178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5" name="Freeform 59"/>
          <p:cNvSpPr>
            <a:spLocks/>
          </p:cNvSpPr>
          <p:nvPr/>
        </p:nvSpPr>
        <p:spPr bwMode="gray">
          <a:xfrm>
            <a:off x="8031163" y="2422525"/>
            <a:ext cx="68262" cy="26988"/>
          </a:xfrm>
          <a:custGeom>
            <a:avLst/>
            <a:gdLst>
              <a:gd name="T0" fmla="*/ 0 w 99"/>
              <a:gd name="T1" fmla="*/ 2147483647 h 36"/>
              <a:gd name="T2" fmla="*/ 0 w 99"/>
              <a:gd name="T3" fmla="*/ 2147483647 h 36"/>
              <a:gd name="T4" fmla="*/ 2147483647 w 99"/>
              <a:gd name="T5" fmla="*/ 0 h 36"/>
              <a:gd name="T6" fmla="*/ 2147483647 w 99"/>
              <a:gd name="T7" fmla="*/ 0 h 36"/>
              <a:gd name="T8" fmla="*/ 2147483647 w 99"/>
              <a:gd name="T9" fmla="*/ 2147483647 h 36"/>
              <a:gd name="T10" fmla="*/ 2147483647 w 99"/>
              <a:gd name="T11" fmla="*/ 2147483647 h 36"/>
              <a:gd name="T12" fmla="*/ 2147483647 w 99"/>
              <a:gd name="T13" fmla="*/ 2147483647 h 36"/>
              <a:gd name="T14" fmla="*/ 2147483647 w 99"/>
              <a:gd name="T15" fmla="*/ 2147483647 h 36"/>
              <a:gd name="T16" fmla="*/ 0 w 99"/>
              <a:gd name="T17" fmla="*/ 2147483647 h 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9"/>
              <a:gd name="T28" fmla="*/ 0 h 36"/>
              <a:gd name="T29" fmla="*/ 99 w 99"/>
              <a:gd name="T30" fmla="*/ 36 h 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9" h="36">
                <a:moveTo>
                  <a:pt x="0" y="36"/>
                </a:moveTo>
                <a:lnTo>
                  <a:pt x="0" y="17"/>
                </a:lnTo>
                <a:lnTo>
                  <a:pt x="19" y="0"/>
                </a:lnTo>
                <a:lnTo>
                  <a:pt x="59" y="0"/>
                </a:lnTo>
                <a:lnTo>
                  <a:pt x="99" y="17"/>
                </a:lnTo>
                <a:lnTo>
                  <a:pt x="99" y="36"/>
                </a:lnTo>
                <a:lnTo>
                  <a:pt x="78" y="36"/>
                </a:lnTo>
                <a:lnTo>
                  <a:pt x="38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6" name="Freeform 60"/>
          <p:cNvSpPr>
            <a:spLocks/>
          </p:cNvSpPr>
          <p:nvPr/>
        </p:nvSpPr>
        <p:spPr bwMode="gray">
          <a:xfrm>
            <a:off x="7105650" y="2257425"/>
            <a:ext cx="0" cy="25400"/>
          </a:xfrm>
          <a:custGeom>
            <a:avLst/>
            <a:gdLst>
              <a:gd name="T0" fmla="*/ 2147483647 h 37"/>
              <a:gd name="T1" fmla="*/ 0 h 37"/>
              <a:gd name="T2" fmla="*/ 2147483647 h 37"/>
              <a:gd name="T3" fmla="*/ 2147483647 h 37"/>
              <a:gd name="T4" fmla="*/ 2147483647 h 37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7"/>
              <a:gd name="T11" fmla="*/ 37 h 37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7">
                <a:moveTo>
                  <a:pt x="0" y="20"/>
                </a:moveTo>
                <a:lnTo>
                  <a:pt x="0" y="0"/>
                </a:lnTo>
                <a:lnTo>
                  <a:pt x="0" y="20"/>
                </a:lnTo>
                <a:lnTo>
                  <a:pt x="0" y="37"/>
                </a:lnTo>
                <a:lnTo>
                  <a:pt x="0" y="2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7" name="Freeform 61"/>
          <p:cNvSpPr>
            <a:spLocks/>
          </p:cNvSpPr>
          <p:nvPr/>
        </p:nvSpPr>
        <p:spPr bwMode="gray">
          <a:xfrm>
            <a:off x="6581775" y="2320925"/>
            <a:ext cx="42863" cy="11113"/>
          </a:xfrm>
          <a:custGeom>
            <a:avLst/>
            <a:gdLst>
              <a:gd name="T0" fmla="*/ 2147483647 w 62"/>
              <a:gd name="T1" fmla="*/ 0 h 17"/>
              <a:gd name="T2" fmla="*/ 2147483647 w 62"/>
              <a:gd name="T3" fmla="*/ 0 h 17"/>
              <a:gd name="T4" fmla="*/ 2147483647 w 62"/>
              <a:gd name="T5" fmla="*/ 2147483647 h 17"/>
              <a:gd name="T6" fmla="*/ 2147483647 w 62"/>
              <a:gd name="T7" fmla="*/ 2147483647 h 17"/>
              <a:gd name="T8" fmla="*/ 0 w 62"/>
              <a:gd name="T9" fmla="*/ 0 h 17"/>
              <a:gd name="T10" fmla="*/ 2147483647 w 62"/>
              <a:gd name="T11" fmla="*/ 0 h 17"/>
              <a:gd name="T12" fmla="*/ 2147483647 w 62"/>
              <a:gd name="T13" fmla="*/ 0 h 17"/>
              <a:gd name="T14" fmla="*/ 2147483647 w 62"/>
              <a:gd name="T15" fmla="*/ 0 h 17"/>
              <a:gd name="T16" fmla="*/ 2147483647 w 62"/>
              <a:gd name="T17" fmla="*/ 0 h 17"/>
              <a:gd name="T18" fmla="*/ 2147483647 w 62"/>
              <a:gd name="T19" fmla="*/ 2147483647 h 17"/>
              <a:gd name="T20" fmla="*/ 2147483647 w 62"/>
              <a:gd name="T21" fmla="*/ 0 h 17"/>
              <a:gd name="T22" fmla="*/ 2147483647 w 62"/>
              <a:gd name="T23" fmla="*/ 0 h 1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2"/>
              <a:gd name="T37" fmla="*/ 0 h 17"/>
              <a:gd name="T38" fmla="*/ 62 w 62"/>
              <a:gd name="T39" fmla="*/ 17 h 1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2" h="17">
                <a:moveTo>
                  <a:pt x="62" y="0"/>
                </a:moveTo>
                <a:lnTo>
                  <a:pt x="41" y="0"/>
                </a:lnTo>
                <a:lnTo>
                  <a:pt x="41" y="17"/>
                </a:lnTo>
                <a:lnTo>
                  <a:pt x="21" y="17"/>
                </a:ln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62" y="0"/>
                </a:lnTo>
                <a:lnTo>
                  <a:pt x="41" y="0"/>
                </a:lnTo>
                <a:lnTo>
                  <a:pt x="41" y="17"/>
                </a:lnTo>
                <a:lnTo>
                  <a:pt x="41" y="0"/>
                </a:lnTo>
                <a:lnTo>
                  <a:pt x="62" y="0"/>
                </a:lnTo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8" name="Freeform 62"/>
          <p:cNvSpPr>
            <a:spLocks/>
          </p:cNvSpPr>
          <p:nvPr/>
        </p:nvSpPr>
        <p:spPr bwMode="gray">
          <a:xfrm>
            <a:off x="6470650" y="2152650"/>
            <a:ext cx="26988" cy="25400"/>
          </a:xfrm>
          <a:custGeom>
            <a:avLst/>
            <a:gdLst>
              <a:gd name="T0" fmla="*/ 2147483647 w 40"/>
              <a:gd name="T1" fmla="*/ 0 h 37"/>
              <a:gd name="T2" fmla="*/ 2147483647 w 40"/>
              <a:gd name="T3" fmla="*/ 2147483647 h 37"/>
              <a:gd name="T4" fmla="*/ 2147483647 w 40"/>
              <a:gd name="T5" fmla="*/ 2147483647 h 37"/>
              <a:gd name="T6" fmla="*/ 2147483647 w 40"/>
              <a:gd name="T7" fmla="*/ 2147483647 h 37"/>
              <a:gd name="T8" fmla="*/ 0 w 40"/>
              <a:gd name="T9" fmla="*/ 2147483647 h 37"/>
              <a:gd name="T10" fmla="*/ 2147483647 w 40"/>
              <a:gd name="T11" fmla="*/ 2147483647 h 37"/>
              <a:gd name="T12" fmla="*/ 2147483647 w 40"/>
              <a:gd name="T13" fmla="*/ 2147483647 h 37"/>
              <a:gd name="T14" fmla="*/ 2147483647 w 40"/>
              <a:gd name="T15" fmla="*/ 0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0"/>
              <a:gd name="T25" fmla="*/ 0 h 37"/>
              <a:gd name="T26" fmla="*/ 40 w 40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0" h="37">
                <a:moveTo>
                  <a:pt x="40" y="0"/>
                </a:moveTo>
                <a:lnTo>
                  <a:pt x="40" y="20"/>
                </a:lnTo>
                <a:lnTo>
                  <a:pt x="21" y="37"/>
                </a:lnTo>
                <a:lnTo>
                  <a:pt x="21" y="20"/>
                </a:lnTo>
                <a:lnTo>
                  <a:pt x="0" y="20"/>
                </a:lnTo>
                <a:lnTo>
                  <a:pt x="21" y="20"/>
                </a:lnTo>
                <a:lnTo>
                  <a:pt x="40" y="20"/>
                </a:lnTo>
                <a:lnTo>
                  <a:pt x="40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59" name="Freeform 63"/>
          <p:cNvSpPr>
            <a:spLocks/>
          </p:cNvSpPr>
          <p:nvPr/>
        </p:nvSpPr>
        <p:spPr bwMode="gray">
          <a:xfrm>
            <a:off x="7145338" y="2241550"/>
            <a:ext cx="153987" cy="66675"/>
          </a:xfrm>
          <a:custGeom>
            <a:avLst/>
            <a:gdLst>
              <a:gd name="T0" fmla="*/ 2147483647 w 220"/>
              <a:gd name="T1" fmla="*/ 2147483647 h 90"/>
              <a:gd name="T2" fmla="*/ 2147483647 w 220"/>
              <a:gd name="T3" fmla="*/ 2147483647 h 90"/>
              <a:gd name="T4" fmla="*/ 2147483647 w 220"/>
              <a:gd name="T5" fmla="*/ 2147483647 h 90"/>
              <a:gd name="T6" fmla="*/ 2147483647 w 220"/>
              <a:gd name="T7" fmla="*/ 2147483647 h 90"/>
              <a:gd name="T8" fmla="*/ 2147483647 w 220"/>
              <a:gd name="T9" fmla="*/ 2147483647 h 90"/>
              <a:gd name="T10" fmla="*/ 2147483647 w 220"/>
              <a:gd name="T11" fmla="*/ 2147483647 h 90"/>
              <a:gd name="T12" fmla="*/ 2147483647 w 220"/>
              <a:gd name="T13" fmla="*/ 2147483647 h 90"/>
              <a:gd name="T14" fmla="*/ 2147483647 w 220"/>
              <a:gd name="T15" fmla="*/ 2147483647 h 90"/>
              <a:gd name="T16" fmla="*/ 2147483647 w 220"/>
              <a:gd name="T17" fmla="*/ 2147483647 h 90"/>
              <a:gd name="T18" fmla="*/ 2147483647 w 220"/>
              <a:gd name="T19" fmla="*/ 2147483647 h 90"/>
              <a:gd name="T20" fmla="*/ 2147483647 w 220"/>
              <a:gd name="T21" fmla="*/ 2147483647 h 90"/>
              <a:gd name="T22" fmla="*/ 0 w 220"/>
              <a:gd name="T23" fmla="*/ 2147483647 h 90"/>
              <a:gd name="T24" fmla="*/ 0 w 220"/>
              <a:gd name="T25" fmla="*/ 2147483647 h 90"/>
              <a:gd name="T26" fmla="*/ 2147483647 w 220"/>
              <a:gd name="T27" fmla="*/ 0 h 90"/>
              <a:gd name="T28" fmla="*/ 2147483647 w 220"/>
              <a:gd name="T29" fmla="*/ 0 h 90"/>
              <a:gd name="T30" fmla="*/ 2147483647 w 220"/>
              <a:gd name="T31" fmla="*/ 2147483647 h 90"/>
              <a:gd name="T32" fmla="*/ 2147483647 w 220"/>
              <a:gd name="T33" fmla="*/ 2147483647 h 90"/>
              <a:gd name="T34" fmla="*/ 2147483647 w 220"/>
              <a:gd name="T35" fmla="*/ 2147483647 h 90"/>
              <a:gd name="T36" fmla="*/ 2147483647 w 220"/>
              <a:gd name="T37" fmla="*/ 2147483647 h 90"/>
              <a:gd name="T38" fmla="*/ 2147483647 w 220"/>
              <a:gd name="T39" fmla="*/ 2147483647 h 90"/>
              <a:gd name="T40" fmla="*/ 2147483647 w 220"/>
              <a:gd name="T41" fmla="*/ 0 h 90"/>
              <a:gd name="T42" fmla="*/ 2147483647 w 220"/>
              <a:gd name="T43" fmla="*/ 2147483647 h 90"/>
              <a:gd name="T44" fmla="*/ 2147483647 w 220"/>
              <a:gd name="T45" fmla="*/ 2147483647 h 90"/>
              <a:gd name="T46" fmla="*/ 2147483647 w 220"/>
              <a:gd name="T47" fmla="*/ 2147483647 h 90"/>
              <a:gd name="T48" fmla="*/ 2147483647 w 220"/>
              <a:gd name="T49" fmla="*/ 2147483647 h 90"/>
              <a:gd name="T50" fmla="*/ 2147483647 w 220"/>
              <a:gd name="T51" fmla="*/ 2147483647 h 90"/>
              <a:gd name="T52" fmla="*/ 2147483647 w 220"/>
              <a:gd name="T53" fmla="*/ 2147483647 h 90"/>
              <a:gd name="T54" fmla="*/ 2147483647 w 220"/>
              <a:gd name="T55" fmla="*/ 2147483647 h 9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20"/>
              <a:gd name="T85" fmla="*/ 0 h 90"/>
              <a:gd name="T86" fmla="*/ 220 w 220"/>
              <a:gd name="T87" fmla="*/ 90 h 9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20" h="90">
                <a:moveTo>
                  <a:pt x="180" y="71"/>
                </a:moveTo>
                <a:lnTo>
                  <a:pt x="161" y="71"/>
                </a:lnTo>
                <a:lnTo>
                  <a:pt x="140" y="71"/>
                </a:lnTo>
                <a:lnTo>
                  <a:pt x="121" y="71"/>
                </a:lnTo>
                <a:lnTo>
                  <a:pt x="99" y="71"/>
                </a:lnTo>
                <a:lnTo>
                  <a:pt x="80" y="90"/>
                </a:lnTo>
                <a:lnTo>
                  <a:pt x="80" y="71"/>
                </a:lnTo>
                <a:lnTo>
                  <a:pt x="59" y="71"/>
                </a:lnTo>
                <a:lnTo>
                  <a:pt x="59" y="90"/>
                </a:lnTo>
                <a:lnTo>
                  <a:pt x="40" y="90"/>
                </a:lnTo>
                <a:lnTo>
                  <a:pt x="21" y="90"/>
                </a:lnTo>
                <a:lnTo>
                  <a:pt x="0" y="54"/>
                </a:lnTo>
                <a:lnTo>
                  <a:pt x="0" y="17"/>
                </a:lnTo>
                <a:lnTo>
                  <a:pt x="21" y="0"/>
                </a:lnTo>
                <a:lnTo>
                  <a:pt x="40" y="0"/>
                </a:lnTo>
                <a:lnTo>
                  <a:pt x="80" y="17"/>
                </a:lnTo>
                <a:lnTo>
                  <a:pt x="80" y="37"/>
                </a:lnTo>
                <a:lnTo>
                  <a:pt x="99" y="37"/>
                </a:lnTo>
                <a:lnTo>
                  <a:pt x="99" y="17"/>
                </a:lnTo>
                <a:lnTo>
                  <a:pt x="121" y="17"/>
                </a:lnTo>
                <a:lnTo>
                  <a:pt x="121" y="0"/>
                </a:lnTo>
                <a:lnTo>
                  <a:pt x="140" y="17"/>
                </a:lnTo>
                <a:lnTo>
                  <a:pt x="199" y="37"/>
                </a:lnTo>
                <a:lnTo>
                  <a:pt x="220" y="37"/>
                </a:lnTo>
                <a:lnTo>
                  <a:pt x="220" y="54"/>
                </a:lnTo>
                <a:lnTo>
                  <a:pt x="199" y="54"/>
                </a:lnTo>
                <a:lnTo>
                  <a:pt x="199" y="71"/>
                </a:lnTo>
                <a:lnTo>
                  <a:pt x="18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0" name="Freeform 64"/>
          <p:cNvSpPr>
            <a:spLocks/>
          </p:cNvSpPr>
          <p:nvPr/>
        </p:nvSpPr>
        <p:spPr bwMode="gray">
          <a:xfrm>
            <a:off x="7200900" y="2332038"/>
            <a:ext cx="85725" cy="26987"/>
          </a:xfrm>
          <a:custGeom>
            <a:avLst/>
            <a:gdLst>
              <a:gd name="T0" fmla="*/ 0 w 119"/>
              <a:gd name="T1" fmla="*/ 2147483647 h 36"/>
              <a:gd name="T2" fmla="*/ 2147483647 w 119"/>
              <a:gd name="T3" fmla="*/ 2147483647 h 36"/>
              <a:gd name="T4" fmla="*/ 2147483647 w 119"/>
              <a:gd name="T5" fmla="*/ 0 h 36"/>
              <a:gd name="T6" fmla="*/ 2147483647 w 119"/>
              <a:gd name="T7" fmla="*/ 0 h 36"/>
              <a:gd name="T8" fmla="*/ 2147483647 w 119"/>
              <a:gd name="T9" fmla="*/ 2147483647 h 36"/>
              <a:gd name="T10" fmla="*/ 2147483647 w 119"/>
              <a:gd name="T11" fmla="*/ 2147483647 h 36"/>
              <a:gd name="T12" fmla="*/ 2147483647 w 119"/>
              <a:gd name="T13" fmla="*/ 2147483647 h 36"/>
              <a:gd name="T14" fmla="*/ 2147483647 w 119"/>
              <a:gd name="T15" fmla="*/ 2147483647 h 36"/>
              <a:gd name="T16" fmla="*/ 2147483647 w 119"/>
              <a:gd name="T17" fmla="*/ 2147483647 h 36"/>
              <a:gd name="T18" fmla="*/ 2147483647 w 119"/>
              <a:gd name="T19" fmla="*/ 2147483647 h 36"/>
              <a:gd name="T20" fmla="*/ 2147483647 w 119"/>
              <a:gd name="T21" fmla="*/ 2147483647 h 36"/>
              <a:gd name="T22" fmla="*/ 0 w 119"/>
              <a:gd name="T23" fmla="*/ 2147483647 h 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9"/>
              <a:gd name="T37" fmla="*/ 0 h 36"/>
              <a:gd name="T38" fmla="*/ 119 w 119"/>
              <a:gd name="T39" fmla="*/ 36 h 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9" h="36">
                <a:moveTo>
                  <a:pt x="0" y="36"/>
                </a:moveTo>
                <a:lnTo>
                  <a:pt x="19" y="19"/>
                </a:lnTo>
                <a:lnTo>
                  <a:pt x="41" y="0"/>
                </a:lnTo>
                <a:lnTo>
                  <a:pt x="60" y="0"/>
                </a:lnTo>
                <a:lnTo>
                  <a:pt x="81" y="19"/>
                </a:lnTo>
                <a:lnTo>
                  <a:pt x="100" y="36"/>
                </a:lnTo>
                <a:lnTo>
                  <a:pt x="119" y="36"/>
                </a:lnTo>
                <a:lnTo>
                  <a:pt x="100" y="36"/>
                </a:lnTo>
                <a:lnTo>
                  <a:pt x="81" y="36"/>
                </a:lnTo>
                <a:lnTo>
                  <a:pt x="60" y="36"/>
                </a:lnTo>
                <a:lnTo>
                  <a:pt x="41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1" name="Freeform 65"/>
          <p:cNvSpPr>
            <a:spLocks/>
          </p:cNvSpPr>
          <p:nvPr/>
        </p:nvSpPr>
        <p:spPr bwMode="gray">
          <a:xfrm>
            <a:off x="7343775" y="2282825"/>
            <a:ext cx="96838" cy="25400"/>
          </a:xfrm>
          <a:custGeom>
            <a:avLst/>
            <a:gdLst>
              <a:gd name="T0" fmla="*/ 0 w 140"/>
              <a:gd name="T1" fmla="*/ 0 h 36"/>
              <a:gd name="T2" fmla="*/ 2147483647 w 140"/>
              <a:gd name="T3" fmla="*/ 0 h 36"/>
              <a:gd name="T4" fmla="*/ 2147483647 w 140"/>
              <a:gd name="T5" fmla="*/ 0 h 36"/>
              <a:gd name="T6" fmla="*/ 2147483647 w 140"/>
              <a:gd name="T7" fmla="*/ 0 h 36"/>
              <a:gd name="T8" fmla="*/ 2147483647 w 140"/>
              <a:gd name="T9" fmla="*/ 0 h 36"/>
              <a:gd name="T10" fmla="*/ 2147483647 w 140"/>
              <a:gd name="T11" fmla="*/ 2147483647 h 36"/>
              <a:gd name="T12" fmla="*/ 2147483647 w 140"/>
              <a:gd name="T13" fmla="*/ 2147483647 h 36"/>
              <a:gd name="T14" fmla="*/ 2147483647 w 140"/>
              <a:gd name="T15" fmla="*/ 2147483647 h 36"/>
              <a:gd name="T16" fmla="*/ 2147483647 w 140"/>
              <a:gd name="T17" fmla="*/ 2147483647 h 36"/>
              <a:gd name="T18" fmla="*/ 2147483647 w 140"/>
              <a:gd name="T19" fmla="*/ 2147483647 h 36"/>
              <a:gd name="T20" fmla="*/ 2147483647 w 140"/>
              <a:gd name="T21" fmla="*/ 2147483647 h 36"/>
              <a:gd name="T22" fmla="*/ 0 w 140"/>
              <a:gd name="T23" fmla="*/ 0 h 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0"/>
              <a:gd name="T37" fmla="*/ 0 h 36"/>
              <a:gd name="T38" fmla="*/ 140 w 140"/>
              <a:gd name="T39" fmla="*/ 36 h 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0" h="36">
                <a:moveTo>
                  <a:pt x="0" y="0"/>
                </a:moveTo>
                <a:lnTo>
                  <a:pt x="40" y="0"/>
                </a:lnTo>
                <a:lnTo>
                  <a:pt x="100" y="0"/>
                </a:lnTo>
                <a:lnTo>
                  <a:pt x="121" y="0"/>
                </a:lnTo>
                <a:lnTo>
                  <a:pt x="140" y="0"/>
                </a:lnTo>
                <a:lnTo>
                  <a:pt x="140" y="17"/>
                </a:lnTo>
                <a:lnTo>
                  <a:pt x="121" y="17"/>
                </a:lnTo>
                <a:lnTo>
                  <a:pt x="121" y="36"/>
                </a:lnTo>
                <a:lnTo>
                  <a:pt x="100" y="36"/>
                </a:lnTo>
                <a:lnTo>
                  <a:pt x="59" y="17"/>
                </a:lnTo>
                <a:lnTo>
                  <a:pt x="21" y="17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2" name="Freeform 66"/>
          <p:cNvSpPr>
            <a:spLocks/>
          </p:cNvSpPr>
          <p:nvPr/>
        </p:nvSpPr>
        <p:spPr bwMode="gray">
          <a:xfrm>
            <a:off x="7200900" y="2320925"/>
            <a:ext cx="28575" cy="11113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2147483647 h 17"/>
              <a:gd name="T4" fmla="*/ 2147483647 w 41"/>
              <a:gd name="T5" fmla="*/ 2147483647 h 17"/>
              <a:gd name="T6" fmla="*/ 0 w 41"/>
              <a:gd name="T7" fmla="*/ 2147483647 h 17"/>
              <a:gd name="T8" fmla="*/ 0 w 41"/>
              <a:gd name="T9" fmla="*/ 0 h 17"/>
              <a:gd name="T10" fmla="*/ 2147483647 w 41"/>
              <a:gd name="T11" fmla="*/ 0 h 17"/>
              <a:gd name="T12" fmla="*/ 2147483647 w 4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17"/>
              <a:gd name="T23" fmla="*/ 41 w 4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17">
                <a:moveTo>
                  <a:pt x="41" y="0"/>
                </a:moveTo>
                <a:lnTo>
                  <a:pt x="41" y="17"/>
                </a:lnTo>
                <a:lnTo>
                  <a:pt x="19" y="17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lnTo>
                  <a:pt x="4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3" name="Freeform 67"/>
          <p:cNvSpPr>
            <a:spLocks/>
          </p:cNvSpPr>
          <p:nvPr/>
        </p:nvSpPr>
        <p:spPr bwMode="gray">
          <a:xfrm>
            <a:off x="5291138" y="2217738"/>
            <a:ext cx="381000" cy="255587"/>
          </a:xfrm>
          <a:custGeom>
            <a:avLst/>
            <a:gdLst>
              <a:gd name="T0" fmla="*/ 2147483647 w 541"/>
              <a:gd name="T1" fmla="*/ 2147483647 h 357"/>
              <a:gd name="T2" fmla="*/ 2147483647 w 541"/>
              <a:gd name="T3" fmla="*/ 2147483647 h 357"/>
              <a:gd name="T4" fmla="*/ 2147483647 w 541"/>
              <a:gd name="T5" fmla="*/ 2147483647 h 357"/>
              <a:gd name="T6" fmla="*/ 2147483647 w 541"/>
              <a:gd name="T7" fmla="*/ 2147483647 h 357"/>
              <a:gd name="T8" fmla="*/ 2147483647 w 541"/>
              <a:gd name="T9" fmla="*/ 2147483647 h 357"/>
              <a:gd name="T10" fmla="*/ 2147483647 w 541"/>
              <a:gd name="T11" fmla="*/ 2147483647 h 357"/>
              <a:gd name="T12" fmla="*/ 2147483647 w 541"/>
              <a:gd name="T13" fmla="*/ 2147483647 h 357"/>
              <a:gd name="T14" fmla="*/ 2147483647 w 541"/>
              <a:gd name="T15" fmla="*/ 2147483647 h 357"/>
              <a:gd name="T16" fmla="*/ 2147483647 w 541"/>
              <a:gd name="T17" fmla="*/ 2147483647 h 357"/>
              <a:gd name="T18" fmla="*/ 2147483647 w 541"/>
              <a:gd name="T19" fmla="*/ 2147483647 h 357"/>
              <a:gd name="T20" fmla="*/ 2147483647 w 541"/>
              <a:gd name="T21" fmla="*/ 2147483647 h 357"/>
              <a:gd name="T22" fmla="*/ 2147483647 w 541"/>
              <a:gd name="T23" fmla="*/ 2147483647 h 357"/>
              <a:gd name="T24" fmla="*/ 2147483647 w 541"/>
              <a:gd name="T25" fmla="*/ 2147483647 h 357"/>
              <a:gd name="T26" fmla="*/ 2147483647 w 541"/>
              <a:gd name="T27" fmla="*/ 2147483647 h 357"/>
              <a:gd name="T28" fmla="*/ 2147483647 w 541"/>
              <a:gd name="T29" fmla="*/ 2147483647 h 357"/>
              <a:gd name="T30" fmla="*/ 2147483647 w 541"/>
              <a:gd name="T31" fmla="*/ 2147483647 h 357"/>
              <a:gd name="T32" fmla="*/ 2147483647 w 541"/>
              <a:gd name="T33" fmla="*/ 2147483647 h 357"/>
              <a:gd name="T34" fmla="*/ 2147483647 w 541"/>
              <a:gd name="T35" fmla="*/ 2147483647 h 357"/>
              <a:gd name="T36" fmla="*/ 2147483647 w 541"/>
              <a:gd name="T37" fmla="*/ 0 h 357"/>
              <a:gd name="T38" fmla="*/ 2147483647 w 541"/>
              <a:gd name="T39" fmla="*/ 0 h 357"/>
              <a:gd name="T40" fmla="*/ 2147483647 w 541"/>
              <a:gd name="T41" fmla="*/ 2147483647 h 357"/>
              <a:gd name="T42" fmla="*/ 2147483647 w 541"/>
              <a:gd name="T43" fmla="*/ 2147483647 h 357"/>
              <a:gd name="T44" fmla="*/ 2147483647 w 541"/>
              <a:gd name="T45" fmla="*/ 2147483647 h 357"/>
              <a:gd name="T46" fmla="*/ 2147483647 w 541"/>
              <a:gd name="T47" fmla="*/ 2147483647 h 357"/>
              <a:gd name="T48" fmla="*/ 2147483647 w 541"/>
              <a:gd name="T49" fmla="*/ 2147483647 h 357"/>
              <a:gd name="T50" fmla="*/ 2147483647 w 541"/>
              <a:gd name="T51" fmla="*/ 2147483647 h 357"/>
              <a:gd name="T52" fmla="*/ 2147483647 w 541"/>
              <a:gd name="T53" fmla="*/ 2147483647 h 357"/>
              <a:gd name="T54" fmla="*/ 2147483647 w 541"/>
              <a:gd name="T55" fmla="*/ 2147483647 h 357"/>
              <a:gd name="T56" fmla="*/ 2147483647 w 541"/>
              <a:gd name="T57" fmla="*/ 2147483647 h 357"/>
              <a:gd name="T58" fmla="*/ 2147483647 w 541"/>
              <a:gd name="T59" fmla="*/ 2147483647 h 357"/>
              <a:gd name="T60" fmla="*/ 2147483647 w 541"/>
              <a:gd name="T61" fmla="*/ 2147483647 h 357"/>
              <a:gd name="T62" fmla="*/ 2147483647 w 541"/>
              <a:gd name="T63" fmla="*/ 2147483647 h 357"/>
              <a:gd name="T64" fmla="*/ 2147483647 w 541"/>
              <a:gd name="T65" fmla="*/ 2147483647 h 357"/>
              <a:gd name="T66" fmla="*/ 2147483647 w 541"/>
              <a:gd name="T67" fmla="*/ 2147483647 h 357"/>
              <a:gd name="T68" fmla="*/ 2147483647 w 541"/>
              <a:gd name="T69" fmla="*/ 2147483647 h 357"/>
              <a:gd name="T70" fmla="*/ 2147483647 w 541"/>
              <a:gd name="T71" fmla="*/ 2147483647 h 357"/>
              <a:gd name="T72" fmla="*/ 2147483647 w 541"/>
              <a:gd name="T73" fmla="*/ 2147483647 h 357"/>
              <a:gd name="T74" fmla="*/ 2147483647 w 541"/>
              <a:gd name="T75" fmla="*/ 2147483647 h 357"/>
              <a:gd name="T76" fmla="*/ 2147483647 w 541"/>
              <a:gd name="T77" fmla="*/ 2147483647 h 357"/>
              <a:gd name="T78" fmla="*/ 2147483647 w 541"/>
              <a:gd name="T79" fmla="*/ 2147483647 h 357"/>
              <a:gd name="T80" fmla="*/ 2147483647 w 541"/>
              <a:gd name="T81" fmla="*/ 2147483647 h 357"/>
              <a:gd name="T82" fmla="*/ 2147483647 w 541"/>
              <a:gd name="T83" fmla="*/ 2147483647 h 357"/>
              <a:gd name="T84" fmla="*/ 2147483647 w 541"/>
              <a:gd name="T85" fmla="*/ 2147483647 h 357"/>
              <a:gd name="T86" fmla="*/ 2147483647 w 541"/>
              <a:gd name="T87" fmla="*/ 2147483647 h 357"/>
              <a:gd name="T88" fmla="*/ 2147483647 w 541"/>
              <a:gd name="T89" fmla="*/ 2147483647 h 357"/>
              <a:gd name="T90" fmla="*/ 2147483647 w 541"/>
              <a:gd name="T91" fmla="*/ 2147483647 h 357"/>
              <a:gd name="T92" fmla="*/ 0 w 541"/>
              <a:gd name="T93" fmla="*/ 2147483647 h 357"/>
              <a:gd name="T94" fmla="*/ 0 w 541"/>
              <a:gd name="T95" fmla="*/ 2147483647 h 357"/>
              <a:gd name="T96" fmla="*/ 0 w 541"/>
              <a:gd name="T97" fmla="*/ 2147483647 h 357"/>
              <a:gd name="T98" fmla="*/ 0 w 541"/>
              <a:gd name="T99" fmla="*/ 2147483647 h 357"/>
              <a:gd name="T100" fmla="*/ 2147483647 w 541"/>
              <a:gd name="T101" fmla="*/ 2147483647 h 357"/>
              <a:gd name="T102" fmla="*/ 2147483647 w 541"/>
              <a:gd name="T103" fmla="*/ 2147483647 h 357"/>
              <a:gd name="T104" fmla="*/ 2147483647 w 541"/>
              <a:gd name="T105" fmla="*/ 2147483647 h 357"/>
              <a:gd name="T106" fmla="*/ 2147483647 w 541"/>
              <a:gd name="T107" fmla="*/ 2147483647 h 357"/>
              <a:gd name="T108" fmla="*/ 2147483647 w 541"/>
              <a:gd name="T109" fmla="*/ 2147483647 h 357"/>
              <a:gd name="T110" fmla="*/ 2147483647 w 541"/>
              <a:gd name="T111" fmla="*/ 2147483647 h 357"/>
              <a:gd name="T112" fmla="*/ 2147483647 w 541"/>
              <a:gd name="T113" fmla="*/ 2147483647 h 357"/>
              <a:gd name="T114" fmla="*/ 2147483647 w 541"/>
              <a:gd name="T115" fmla="*/ 2147483647 h 357"/>
              <a:gd name="T116" fmla="*/ 2147483647 w 541"/>
              <a:gd name="T117" fmla="*/ 2147483647 h 357"/>
              <a:gd name="T118" fmla="*/ 2147483647 w 541"/>
              <a:gd name="T119" fmla="*/ 2147483647 h 357"/>
              <a:gd name="T120" fmla="*/ 2147483647 w 541"/>
              <a:gd name="T121" fmla="*/ 2147483647 h 357"/>
              <a:gd name="T122" fmla="*/ 2147483647 w 541"/>
              <a:gd name="T123" fmla="*/ 2147483647 h 357"/>
              <a:gd name="T124" fmla="*/ 2147483647 w 541"/>
              <a:gd name="T125" fmla="*/ 2147483647 h 35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41"/>
              <a:gd name="T190" fmla="*/ 0 h 357"/>
              <a:gd name="T191" fmla="*/ 541 w 541"/>
              <a:gd name="T192" fmla="*/ 357 h 35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41" h="357">
                <a:moveTo>
                  <a:pt x="180" y="357"/>
                </a:moveTo>
                <a:lnTo>
                  <a:pt x="140" y="322"/>
                </a:lnTo>
                <a:lnTo>
                  <a:pt x="119" y="286"/>
                </a:lnTo>
                <a:lnTo>
                  <a:pt x="140" y="232"/>
                </a:lnTo>
                <a:lnTo>
                  <a:pt x="159" y="197"/>
                </a:lnTo>
                <a:lnTo>
                  <a:pt x="199" y="161"/>
                </a:lnTo>
                <a:lnTo>
                  <a:pt x="240" y="144"/>
                </a:lnTo>
                <a:lnTo>
                  <a:pt x="259" y="144"/>
                </a:lnTo>
                <a:lnTo>
                  <a:pt x="280" y="126"/>
                </a:lnTo>
                <a:lnTo>
                  <a:pt x="299" y="126"/>
                </a:lnTo>
                <a:lnTo>
                  <a:pt x="299" y="107"/>
                </a:lnTo>
                <a:lnTo>
                  <a:pt x="320" y="90"/>
                </a:lnTo>
                <a:lnTo>
                  <a:pt x="359" y="90"/>
                </a:lnTo>
                <a:lnTo>
                  <a:pt x="399" y="90"/>
                </a:lnTo>
                <a:lnTo>
                  <a:pt x="420" y="73"/>
                </a:lnTo>
                <a:lnTo>
                  <a:pt x="481" y="53"/>
                </a:lnTo>
                <a:lnTo>
                  <a:pt x="522" y="36"/>
                </a:lnTo>
                <a:lnTo>
                  <a:pt x="541" y="17"/>
                </a:lnTo>
                <a:lnTo>
                  <a:pt x="501" y="0"/>
                </a:lnTo>
                <a:lnTo>
                  <a:pt x="481" y="0"/>
                </a:lnTo>
                <a:lnTo>
                  <a:pt x="439" y="17"/>
                </a:lnTo>
                <a:lnTo>
                  <a:pt x="380" y="36"/>
                </a:lnTo>
                <a:lnTo>
                  <a:pt x="339" y="53"/>
                </a:lnTo>
                <a:lnTo>
                  <a:pt x="320" y="53"/>
                </a:lnTo>
                <a:lnTo>
                  <a:pt x="299" y="36"/>
                </a:lnTo>
                <a:lnTo>
                  <a:pt x="280" y="36"/>
                </a:lnTo>
                <a:lnTo>
                  <a:pt x="280" y="53"/>
                </a:lnTo>
                <a:lnTo>
                  <a:pt x="259" y="53"/>
                </a:lnTo>
                <a:lnTo>
                  <a:pt x="220" y="73"/>
                </a:lnTo>
                <a:lnTo>
                  <a:pt x="199" y="90"/>
                </a:lnTo>
                <a:lnTo>
                  <a:pt x="159" y="90"/>
                </a:lnTo>
                <a:lnTo>
                  <a:pt x="140" y="90"/>
                </a:lnTo>
                <a:lnTo>
                  <a:pt x="140" y="107"/>
                </a:lnTo>
                <a:lnTo>
                  <a:pt x="119" y="107"/>
                </a:lnTo>
                <a:lnTo>
                  <a:pt x="99" y="107"/>
                </a:lnTo>
                <a:lnTo>
                  <a:pt x="119" y="126"/>
                </a:lnTo>
                <a:lnTo>
                  <a:pt x="119" y="144"/>
                </a:lnTo>
                <a:lnTo>
                  <a:pt x="99" y="144"/>
                </a:lnTo>
                <a:lnTo>
                  <a:pt x="80" y="180"/>
                </a:lnTo>
                <a:lnTo>
                  <a:pt x="59" y="197"/>
                </a:lnTo>
                <a:lnTo>
                  <a:pt x="80" y="197"/>
                </a:lnTo>
                <a:lnTo>
                  <a:pt x="59" y="213"/>
                </a:lnTo>
                <a:lnTo>
                  <a:pt x="19" y="213"/>
                </a:lnTo>
                <a:lnTo>
                  <a:pt x="19" y="232"/>
                </a:lnTo>
                <a:lnTo>
                  <a:pt x="19" y="249"/>
                </a:lnTo>
                <a:lnTo>
                  <a:pt x="19" y="268"/>
                </a:lnTo>
                <a:lnTo>
                  <a:pt x="0" y="268"/>
                </a:lnTo>
                <a:lnTo>
                  <a:pt x="0" y="286"/>
                </a:lnTo>
                <a:lnTo>
                  <a:pt x="0" y="303"/>
                </a:lnTo>
                <a:lnTo>
                  <a:pt x="0" y="322"/>
                </a:lnTo>
                <a:lnTo>
                  <a:pt x="19" y="322"/>
                </a:lnTo>
                <a:lnTo>
                  <a:pt x="40" y="322"/>
                </a:lnTo>
                <a:lnTo>
                  <a:pt x="59" y="322"/>
                </a:lnTo>
                <a:lnTo>
                  <a:pt x="59" y="339"/>
                </a:lnTo>
                <a:lnTo>
                  <a:pt x="80" y="339"/>
                </a:lnTo>
                <a:lnTo>
                  <a:pt x="80" y="357"/>
                </a:lnTo>
                <a:lnTo>
                  <a:pt x="119" y="357"/>
                </a:lnTo>
                <a:lnTo>
                  <a:pt x="159" y="357"/>
                </a:lnTo>
                <a:lnTo>
                  <a:pt x="180" y="357"/>
                </a:lnTo>
                <a:lnTo>
                  <a:pt x="180" y="339"/>
                </a:lnTo>
                <a:lnTo>
                  <a:pt x="159" y="339"/>
                </a:lnTo>
                <a:lnTo>
                  <a:pt x="180" y="339"/>
                </a:lnTo>
                <a:lnTo>
                  <a:pt x="180" y="35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4" name="Freeform 68"/>
          <p:cNvSpPr>
            <a:spLocks/>
          </p:cNvSpPr>
          <p:nvPr/>
        </p:nvSpPr>
        <p:spPr bwMode="gray">
          <a:xfrm>
            <a:off x="6316663" y="2101850"/>
            <a:ext cx="141287" cy="76200"/>
          </a:xfrm>
          <a:custGeom>
            <a:avLst/>
            <a:gdLst>
              <a:gd name="T0" fmla="*/ 2147483647 w 202"/>
              <a:gd name="T1" fmla="*/ 2147483647 h 106"/>
              <a:gd name="T2" fmla="*/ 0 w 202"/>
              <a:gd name="T3" fmla="*/ 2147483647 h 106"/>
              <a:gd name="T4" fmla="*/ 0 w 202"/>
              <a:gd name="T5" fmla="*/ 2147483647 h 106"/>
              <a:gd name="T6" fmla="*/ 0 w 202"/>
              <a:gd name="T7" fmla="*/ 2147483647 h 106"/>
              <a:gd name="T8" fmla="*/ 2147483647 w 202"/>
              <a:gd name="T9" fmla="*/ 2147483647 h 106"/>
              <a:gd name="T10" fmla="*/ 2147483647 w 202"/>
              <a:gd name="T11" fmla="*/ 2147483647 h 106"/>
              <a:gd name="T12" fmla="*/ 2147483647 w 202"/>
              <a:gd name="T13" fmla="*/ 2147483647 h 106"/>
              <a:gd name="T14" fmla="*/ 2147483647 w 202"/>
              <a:gd name="T15" fmla="*/ 0 h 106"/>
              <a:gd name="T16" fmla="*/ 2147483647 w 202"/>
              <a:gd name="T17" fmla="*/ 0 h 106"/>
              <a:gd name="T18" fmla="*/ 2147483647 w 202"/>
              <a:gd name="T19" fmla="*/ 2147483647 h 106"/>
              <a:gd name="T20" fmla="*/ 2147483647 w 202"/>
              <a:gd name="T21" fmla="*/ 2147483647 h 106"/>
              <a:gd name="T22" fmla="*/ 2147483647 w 202"/>
              <a:gd name="T23" fmla="*/ 2147483647 h 106"/>
              <a:gd name="T24" fmla="*/ 2147483647 w 202"/>
              <a:gd name="T25" fmla="*/ 2147483647 h 106"/>
              <a:gd name="T26" fmla="*/ 2147483647 w 202"/>
              <a:gd name="T27" fmla="*/ 2147483647 h 106"/>
              <a:gd name="T28" fmla="*/ 2147483647 w 202"/>
              <a:gd name="T29" fmla="*/ 2147483647 h 106"/>
              <a:gd name="T30" fmla="*/ 2147483647 w 202"/>
              <a:gd name="T31" fmla="*/ 2147483647 h 106"/>
              <a:gd name="T32" fmla="*/ 2147483647 w 202"/>
              <a:gd name="T33" fmla="*/ 2147483647 h 106"/>
              <a:gd name="T34" fmla="*/ 2147483647 w 202"/>
              <a:gd name="T35" fmla="*/ 2147483647 h 106"/>
              <a:gd name="T36" fmla="*/ 2147483647 w 202"/>
              <a:gd name="T37" fmla="*/ 2147483647 h 106"/>
              <a:gd name="T38" fmla="*/ 2147483647 w 202"/>
              <a:gd name="T39" fmla="*/ 2147483647 h 106"/>
              <a:gd name="T40" fmla="*/ 2147483647 w 202"/>
              <a:gd name="T41" fmla="*/ 2147483647 h 106"/>
              <a:gd name="T42" fmla="*/ 2147483647 w 202"/>
              <a:gd name="T43" fmla="*/ 2147483647 h 1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02"/>
              <a:gd name="T67" fmla="*/ 0 h 106"/>
              <a:gd name="T68" fmla="*/ 202 w 202"/>
              <a:gd name="T69" fmla="*/ 106 h 1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02" h="106">
                <a:moveTo>
                  <a:pt x="19" y="106"/>
                </a:moveTo>
                <a:lnTo>
                  <a:pt x="0" y="106"/>
                </a:lnTo>
                <a:lnTo>
                  <a:pt x="0" y="89"/>
                </a:lnTo>
                <a:lnTo>
                  <a:pt x="0" y="69"/>
                </a:lnTo>
                <a:lnTo>
                  <a:pt x="19" y="69"/>
                </a:lnTo>
                <a:lnTo>
                  <a:pt x="41" y="52"/>
                </a:lnTo>
                <a:lnTo>
                  <a:pt x="60" y="18"/>
                </a:lnTo>
                <a:lnTo>
                  <a:pt x="100" y="0"/>
                </a:lnTo>
                <a:lnTo>
                  <a:pt x="121" y="0"/>
                </a:lnTo>
                <a:lnTo>
                  <a:pt x="121" y="18"/>
                </a:lnTo>
                <a:lnTo>
                  <a:pt x="121" y="33"/>
                </a:lnTo>
                <a:lnTo>
                  <a:pt x="121" y="18"/>
                </a:lnTo>
                <a:lnTo>
                  <a:pt x="140" y="33"/>
                </a:lnTo>
                <a:lnTo>
                  <a:pt x="181" y="52"/>
                </a:lnTo>
                <a:lnTo>
                  <a:pt x="202" y="69"/>
                </a:lnTo>
                <a:lnTo>
                  <a:pt x="181" y="69"/>
                </a:lnTo>
                <a:lnTo>
                  <a:pt x="140" y="89"/>
                </a:lnTo>
                <a:lnTo>
                  <a:pt x="121" y="89"/>
                </a:lnTo>
                <a:lnTo>
                  <a:pt x="100" y="89"/>
                </a:lnTo>
                <a:lnTo>
                  <a:pt x="81" y="89"/>
                </a:lnTo>
                <a:lnTo>
                  <a:pt x="60" y="89"/>
                </a:lnTo>
                <a:lnTo>
                  <a:pt x="19" y="10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5" name="Freeform 69"/>
          <p:cNvSpPr>
            <a:spLocks/>
          </p:cNvSpPr>
          <p:nvPr/>
        </p:nvSpPr>
        <p:spPr bwMode="gray">
          <a:xfrm>
            <a:off x="6134100" y="2074863"/>
            <a:ext cx="53975" cy="26987"/>
          </a:xfrm>
          <a:custGeom>
            <a:avLst/>
            <a:gdLst>
              <a:gd name="T0" fmla="*/ 2147483647 w 81"/>
              <a:gd name="T1" fmla="*/ 0 h 36"/>
              <a:gd name="T2" fmla="*/ 2147483647 w 81"/>
              <a:gd name="T3" fmla="*/ 0 h 36"/>
              <a:gd name="T4" fmla="*/ 2147483647 w 81"/>
              <a:gd name="T5" fmla="*/ 0 h 36"/>
              <a:gd name="T6" fmla="*/ 2147483647 w 81"/>
              <a:gd name="T7" fmla="*/ 2147483647 h 36"/>
              <a:gd name="T8" fmla="*/ 2147483647 w 81"/>
              <a:gd name="T9" fmla="*/ 2147483647 h 36"/>
              <a:gd name="T10" fmla="*/ 2147483647 w 81"/>
              <a:gd name="T11" fmla="*/ 2147483647 h 36"/>
              <a:gd name="T12" fmla="*/ 2147483647 w 81"/>
              <a:gd name="T13" fmla="*/ 2147483647 h 36"/>
              <a:gd name="T14" fmla="*/ 2147483647 w 81"/>
              <a:gd name="T15" fmla="*/ 2147483647 h 36"/>
              <a:gd name="T16" fmla="*/ 2147483647 w 81"/>
              <a:gd name="T17" fmla="*/ 2147483647 h 36"/>
              <a:gd name="T18" fmla="*/ 0 w 81"/>
              <a:gd name="T19" fmla="*/ 0 h 36"/>
              <a:gd name="T20" fmla="*/ 2147483647 w 81"/>
              <a:gd name="T21" fmla="*/ 0 h 36"/>
              <a:gd name="T22" fmla="*/ 2147483647 w 81"/>
              <a:gd name="T23" fmla="*/ 0 h 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1"/>
              <a:gd name="T37" fmla="*/ 0 h 36"/>
              <a:gd name="T38" fmla="*/ 81 w 81"/>
              <a:gd name="T39" fmla="*/ 36 h 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1" h="36">
                <a:moveTo>
                  <a:pt x="41" y="0"/>
                </a:moveTo>
                <a:lnTo>
                  <a:pt x="60" y="0"/>
                </a:lnTo>
                <a:lnTo>
                  <a:pt x="81" y="0"/>
                </a:lnTo>
                <a:lnTo>
                  <a:pt x="81" y="17"/>
                </a:lnTo>
                <a:lnTo>
                  <a:pt x="81" y="36"/>
                </a:lnTo>
                <a:lnTo>
                  <a:pt x="60" y="36"/>
                </a:lnTo>
                <a:lnTo>
                  <a:pt x="41" y="36"/>
                </a:lnTo>
                <a:lnTo>
                  <a:pt x="19" y="36"/>
                </a:lnTo>
                <a:lnTo>
                  <a:pt x="19" y="17"/>
                </a:lnTo>
                <a:lnTo>
                  <a:pt x="0" y="0"/>
                </a:lnTo>
                <a:lnTo>
                  <a:pt x="19" y="0"/>
                </a:lnTo>
                <a:lnTo>
                  <a:pt x="41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6" name="Freeform 70"/>
          <p:cNvSpPr>
            <a:spLocks/>
          </p:cNvSpPr>
          <p:nvPr/>
        </p:nvSpPr>
        <p:spPr bwMode="gray">
          <a:xfrm>
            <a:off x="6161088" y="2024063"/>
            <a:ext cx="168275" cy="115887"/>
          </a:xfrm>
          <a:custGeom>
            <a:avLst/>
            <a:gdLst>
              <a:gd name="T0" fmla="*/ 2147483647 w 241"/>
              <a:gd name="T1" fmla="*/ 2147483647 h 161"/>
              <a:gd name="T2" fmla="*/ 2147483647 w 241"/>
              <a:gd name="T3" fmla="*/ 2147483647 h 161"/>
              <a:gd name="T4" fmla="*/ 2147483647 w 241"/>
              <a:gd name="T5" fmla="*/ 2147483647 h 161"/>
              <a:gd name="T6" fmla="*/ 2147483647 w 241"/>
              <a:gd name="T7" fmla="*/ 2147483647 h 161"/>
              <a:gd name="T8" fmla="*/ 2147483647 w 241"/>
              <a:gd name="T9" fmla="*/ 2147483647 h 161"/>
              <a:gd name="T10" fmla="*/ 2147483647 w 241"/>
              <a:gd name="T11" fmla="*/ 2147483647 h 161"/>
              <a:gd name="T12" fmla="*/ 2147483647 w 241"/>
              <a:gd name="T13" fmla="*/ 2147483647 h 161"/>
              <a:gd name="T14" fmla="*/ 2147483647 w 241"/>
              <a:gd name="T15" fmla="*/ 2147483647 h 161"/>
              <a:gd name="T16" fmla="*/ 2147483647 w 241"/>
              <a:gd name="T17" fmla="*/ 2147483647 h 161"/>
              <a:gd name="T18" fmla="*/ 2147483647 w 241"/>
              <a:gd name="T19" fmla="*/ 2147483647 h 161"/>
              <a:gd name="T20" fmla="*/ 2147483647 w 241"/>
              <a:gd name="T21" fmla="*/ 2147483647 h 161"/>
              <a:gd name="T22" fmla="*/ 2147483647 w 241"/>
              <a:gd name="T23" fmla="*/ 2147483647 h 161"/>
              <a:gd name="T24" fmla="*/ 2147483647 w 241"/>
              <a:gd name="T25" fmla="*/ 2147483647 h 161"/>
              <a:gd name="T26" fmla="*/ 2147483647 w 241"/>
              <a:gd name="T27" fmla="*/ 2147483647 h 161"/>
              <a:gd name="T28" fmla="*/ 2147483647 w 241"/>
              <a:gd name="T29" fmla="*/ 2147483647 h 161"/>
              <a:gd name="T30" fmla="*/ 2147483647 w 241"/>
              <a:gd name="T31" fmla="*/ 2147483647 h 161"/>
              <a:gd name="T32" fmla="*/ 0 w 241"/>
              <a:gd name="T33" fmla="*/ 2147483647 h 161"/>
              <a:gd name="T34" fmla="*/ 2147483647 w 241"/>
              <a:gd name="T35" fmla="*/ 2147483647 h 161"/>
              <a:gd name="T36" fmla="*/ 2147483647 w 241"/>
              <a:gd name="T37" fmla="*/ 0 h 161"/>
              <a:gd name="T38" fmla="*/ 2147483647 w 241"/>
              <a:gd name="T39" fmla="*/ 0 h 161"/>
              <a:gd name="T40" fmla="*/ 2147483647 w 241"/>
              <a:gd name="T41" fmla="*/ 0 h 161"/>
              <a:gd name="T42" fmla="*/ 2147483647 w 241"/>
              <a:gd name="T43" fmla="*/ 2147483647 h 161"/>
              <a:gd name="T44" fmla="*/ 2147483647 w 241"/>
              <a:gd name="T45" fmla="*/ 2147483647 h 161"/>
              <a:gd name="T46" fmla="*/ 2147483647 w 241"/>
              <a:gd name="T47" fmla="*/ 2147483647 h 161"/>
              <a:gd name="T48" fmla="*/ 2147483647 w 241"/>
              <a:gd name="T49" fmla="*/ 2147483647 h 161"/>
              <a:gd name="T50" fmla="*/ 2147483647 w 241"/>
              <a:gd name="T51" fmla="*/ 2147483647 h 161"/>
              <a:gd name="T52" fmla="*/ 2147483647 w 241"/>
              <a:gd name="T53" fmla="*/ 2147483647 h 161"/>
              <a:gd name="T54" fmla="*/ 2147483647 w 241"/>
              <a:gd name="T55" fmla="*/ 2147483647 h 161"/>
              <a:gd name="T56" fmla="*/ 2147483647 w 241"/>
              <a:gd name="T57" fmla="*/ 2147483647 h 161"/>
              <a:gd name="T58" fmla="*/ 2147483647 w 241"/>
              <a:gd name="T59" fmla="*/ 2147483647 h 161"/>
              <a:gd name="T60" fmla="*/ 2147483647 w 241"/>
              <a:gd name="T61" fmla="*/ 2147483647 h 161"/>
              <a:gd name="T62" fmla="*/ 2147483647 w 241"/>
              <a:gd name="T63" fmla="*/ 2147483647 h 161"/>
              <a:gd name="T64" fmla="*/ 2147483647 w 241"/>
              <a:gd name="T65" fmla="*/ 2147483647 h 161"/>
              <a:gd name="T66" fmla="*/ 2147483647 w 241"/>
              <a:gd name="T67" fmla="*/ 2147483647 h 161"/>
              <a:gd name="T68" fmla="*/ 2147483647 w 241"/>
              <a:gd name="T69" fmla="*/ 2147483647 h 161"/>
              <a:gd name="T70" fmla="*/ 2147483647 w 241"/>
              <a:gd name="T71" fmla="*/ 2147483647 h 16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41"/>
              <a:gd name="T109" fmla="*/ 0 h 161"/>
              <a:gd name="T110" fmla="*/ 241 w 241"/>
              <a:gd name="T111" fmla="*/ 161 h 16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41" h="161">
                <a:moveTo>
                  <a:pt x="222" y="142"/>
                </a:moveTo>
                <a:lnTo>
                  <a:pt x="222" y="161"/>
                </a:lnTo>
                <a:lnTo>
                  <a:pt x="201" y="161"/>
                </a:lnTo>
                <a:lnTo>
                  <a:pt x="140" y="161"/>
                </a:lnTo>
                <a:lnTo>
                  <a:pt x="119" y="142"/>
                </a:lnTo>
                <a:lnTo>
                  <a:pt x="80" y="142"/>
                </a:lnTo>
                <a:lnTo>
                  <a:pt x="59" y="142"/>
                </a:lnTo>
                <a:lnTo>
                  <a:pt x="59" y="109"/>
                </a:lnTo>
                <a:lnTo>
                  <a:pt x="40" y="109"/>
                </a:lnTo>
                <a:lnTo>
                  <a:pt x="59" y="109"/>
                </a:lnTo>
                <a:lnTo>
                  <a:pt x="80" y="90"/>
                </a:lnTo>
                <a:lnTo>
                  <a:pt x="99" y="73"/>
                </a:lnTo>
                <a:lnTo>
                  <a:pt x="80" y="73"/>
                </a:lnTo>
                <a:lnTo>
                  <a:pt x="59" y="73"/>
                </a:lnTo>
                <a:lnTo>
                  <a:pt x="40" y="73"/>
                </a:lnTo>
                <a:lnTo>
                  <a:pt x="40" y="56"/>
                </a:lnTo>
                <a:lnTo>
                  <a:pt x="0" y="56"/>
                </a:lnTo>
                <a:lnTo>
                  <a:pt x="40" y="36"/>
                </a:lnTo>
                <a:lnTo>
                  <a:pt x="59" y="0"/>
                </a:lnTo>
                <a:lnTo>
                  <a:pt x="80" y="0"/>
                </a:lnTo>
                <a:lnTo>
                  <a:pt x="119" y="0"/>
                </a:lnTo>
                <a:lnTo>
                  <a:pt x="140" y="19"/>
                </a:lnTo>
                <a:lnTo>
                  <a:pt x="159" y="36"/>
                </a:lnTo>
                <a:lnTo>
                  <a:pt x="140" y="36"/>
                </a:lnTo>
                <a:lnTo>
                  <a:pt x="140" y="56"/>
                </a:lnTo>
                <a:lnTo>
                  <a:pt x="140" y="73"/>
                </a:lnTo>
                <a:lnTo>
                  <a:pt x="119" y="73"/>
                </a:lnTo>
                <a:lnTo>
                  <a:pt x="140" y="73"/>
                </a:lnTo>
                <a:lnTo>
                  <a:pt x="159" y="73"/>
                </a:lnTo>
                <a:lnTo>
                  <a:pt x="180" y="90"/>
                </a:lnTo>
                <a:lnTo>
                  <a:pt x="201" y="90"/>
                </a:lnTo>
                <a:lnTo>
                  <a:pt x="222" y="90"/>
                </a:lnTo>
                <a:lnTo>
                  <a:pt x="241" y="109"/>
                </a:lnTo>
                <a:lnTo>
                  <a:pt x="222" y="109"/>
                </a:lnTo>
                <a:lnTo>
                  <a:pt x="222" y="127"/>
                </a:lnTo>
                <a:lnTo>
                  <a:pt x="222" y="142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7" name="Freeform 71"/>
          <p:cNvSpPr>
            <a:spLocks/>
          </p:cNvSpPr>
          <p:nvPr/>
        </p:nvSpPr>
        <p:spPr bwMode="gray">
          <a:xfrm>
            <a:off x="6218238" y="2205038"/>
            <a:ext cx="26987" cy="23812"/>
          </a:xfrm>
          <a:custGeom>
            <a:avLst/>
            <a:gdLst>
              <a:gd name="T0" fmla="*/ 0 w 39"/>
              <a:gd name="T1" fmla="*/ 2147483647 h 35"/>
              <a:gd name="T2" fmla="*/ 2147483647 w 39"/>
              <a:gd name="T3" fmla="*/ 2147483647 h 35"/>
              <a:gd name="T4" fmla="*/ 2147483647 w 39"/>
              <a:gd name="T5" fmla="*/ 0 h 35"/>
              <a:gd name="T6" fmla="*/ 2147483647 w 39"/>
              <a:gd name="T7" fmla="*/ 0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0 w 39"/>
              <a:gd name="T15" fmla="*/ 2147483647 h 3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9"/>
              <a:gd name="T25" fmla="*/ 0 h 35"/>
              <a:gd name="T26" fmla="*/ 39 w 39"/>
              <a:gd name="T27" fmla="*/ 35 h 3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9" h="35">
                <a:moveTo>
                  <a:pt x="0" y="18"/>
                </a:moveTo>
                <a:lnTo>
                  <a:pt x="19" y="18"/>
                </a:lnTo>
                <a:lnTo>
                  <a:pt x="19" y="0"/>
                </a:lnTo>
                <a:lnTo>
                  <a:pt x="39" y="0"/>
                </a:lnTo>
                <a:lnTo>
                  <a:pt x="39" y="18"/>
                </a:lnTo>
                <a:lnTo>
                  <a:pt x="19" y="35"/>
                </a:lnTo>
                <a:lnTo>
                  <a:pt x="19" y="18"/>
                </a:lnTo>
                <a:lnTo>
                  <a:pt x="0" y="1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8" name="Freeform 72"/>
          <p:cNvSpPr>
            <a:spLocks/>
          </p:cNvSpPr>
          <p:nvPr/>
        </p:nvSpPr>
        <p:spPr bwMode="gray">
          <a:xfrm>
            <a:off x="6134100" y="2024063"/>
            <a:ext cx="12700" cy="0"/>
          </a:xfrm>
          <a:custGeom>
            <a:avLst/>
            <a:gdLst>
              <a:gd name="T0" fmla="*/ 2147483647 w 19"/>
              <a:gd name="T1" fmla="*/ 0 w 19"/>
              <a:gd name="T2" fmla="*/ 2147483647 w 19"/>
              <a:gd name="T3" fmla="*/ 0 60000 65536"/>
              <a:gd name="T4" fmla="*/ 0 60000 65536"/>
              <a:gd name="T5" fmla="*/ 0 60000 65536"/>
              <a:gd name="T6" fmla="*/ 0 w 19"/>
              <a:gd name="T7" fmla="*/ 19 w 19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19">
                <a:moveTo>
                  <a:pt x="19" y="0"/>
                </a:moveTo>
                <a:lnTo>
                  <a:pt x="0" y="0"/>
                </a:lnTo>
                <a:lnTo>
                  <a:pt x="19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69" name="Freeform 73"/>
          <p:cNvSpPr>
            <a:spLocks/>
          </p:cNvSpPr>
          <p:nvPr/>
        </p:nvSpPr>
        <p:spPr bwMode="gray">
          <a:xfrm>
            <a:off x="5121275" y="2049463"/>
            <a:ext cx="153988" cy="41275"/>
          </a:xfrm>
          <a:custGeom>
            <a:avLst/>
            <a:gdLst>
              <a:gd name="T0" fmla="*/ 2147483647 w 219"/>
              <a:gd name="T1" fmla="*/ 2147483647 h 54"/>
              <a:gd name="T2" fmla="*/ 2147483647 w 219"/>
              <a:gd name="T3" fmla="*/ 2147483647 h 54"/>
              <a:gd name="T4" fmla="*/ 2147483647 w 219"/>
              <a:gd name="T5" fmla="*/ 2147483647 h 54"/>
              <a:gd name="T6" fmla="*/ 2147483647 w 219"/>
              <a:gd name="T7" fmla="*/ 2147483647 h 54"/>
              <a:gd name="T8" fmla="*/ 2147483647 w 219"/>
              <a:gd name="T9" fmla="*/ 2147483647 h 54"/>
              <a:gd name="T10" fmla="*/ 2147483647 w 219"/>
              <a:gd name="T11" fmla="*/ 2147483647 h 54"/>
              <a:gd name="T12" fmla="*/ 2147483647 w 219"/>
              <a:gd name="T13" fmla="*/ 2147483647 h 54"/>
              <a:gd name="T14" fmla="*/ 2147483647 w 219"/>
              <a:gd name="T15" fmla="*/ 2147483647 h 54"/>
              <a:gd name="T16" fmla="*/ 2147483647 w 219"/>
              <a:gd name="T17" fmla="*/ 2147483647 h 54"/>
              <a:gd name="T18" fmla="*/ 2147483647 w 219"/>
              <a:gd name="T19" fmla="*/ 2147483647 h 54"/>
              <a:gd name="T20" fmla="*/ 2147483647 w 219"/>
              <a:gd name="T21" fmla="*/ 2147483647 h 54"/>
              <a:gd name="T22" fmla="*/ 2147483647 w 219"/>
              <a:gd name="T23" fmla="*/ 2147483647 h 54"/>
              <a:gd name="T24" fmla="*/ 2147483647 w 219"/>
              <a:gd name="T25" fmla="*/ 2147483647 h 54"/>
              <a:gd name="T26" fmla="*/ 2147483647 w 219"/>
              <a:gd name="T27" fmla="*/ 0 h 54"/>
              <a:gd name="T28" fmla="*/ 2147483647 w 219"/>
              <a:gd name="T29" fmla="*/ 2147483647 h 54"/>
              <a:gd name="T30" fmla="*/ 2147483647 w 219"/>
              <a:gd name="T31" fmla="*/ 2147483647 h 54"/>
              <a:gd name="T32" fmla="*/ 2147483647 w 219"/>
              <a:gd name="T33" fmla="*/ 2147483647 h 54"/>
              <a:gd name="T34" fmla="*/ 0 w 219"/>
              <a:gd name="T35" fmla="*/ 2147483647 h 54"/>
              <a:gd name="T36" fmla="*/ 2147483647 w 219"/>
              <a:gd name="T37" fmla="*/ 0 h 54"/>
              <a:gd name="T38" fmla="*/ 2147483647 w 219"/>
              <a:gd name="T39" fmla="*/ 0 h 54"/>
              <a:gd name="T40" fmla="*/ 2147483647 w 219"/>
              <a:gd name="T41" fmla="*/ 0 h 54"/>
              <a:gd name="T42" fmla="*/ 2147483647 w 219"/>
              <a:gd name="T43" fmla="*/ 0 h 54"/>
              <a:gd name="T44" fmla="*/ 2147483647 w 219"/>
              <a:gd name="T45" fmla="*/ 0 h 54"/>
              <a:gd name="T46" fmla="*/ 2147483647 w 219"/>
              <a:gd name="T47" fmla="*/ 0 h 54"/>
              <a:gd name="T48" fmla="*/ 2147483647 w 219"/>
              <a:gd name="T49" fmla="*/ 0 h 54"/>
              <a:gd name="T50" fmla="*/ 2147483647 w 219"/>
              <a:gd name="T51" fmla="*/ 0 h 54"/>
              <a:gd name="T52" fmla="*/ 2147483647 w 219"/>
              <a:gd name="T53" fmla="*/ 2147483647 h 54"/>
              <a:gd name="T54" fmla="*/ 2147483647 w 219"/>
              <a:gd name="T55" fmla="*/ 2147483647 h 54"/>
              <a:gd name="T56" fmla="*/ 2147483647 w 219"/>
              <a:gd name="T57" fmla="*/ 2147483647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19"/>
              <a:gd name="T88" fmla="*/ 0 h 54"/>
              <a:gd name="T89" fmla="*/ 219 w 219"/>
              <a:gd name="T90" fmla="*/ 54 h 5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19" h="54">
                <a:moveTo>
                  <a:pt x="180" y="18"/>
                </a:moveTo>
                <a:lnTo>
                  <a:pt x="159" y="18"/>
                </a:lnTo>
                <a:lnTo>
                  <a:pt x="140" y="18"/>
                </a:lnTo>
                <a:lnTo>
                  <a:pt x="140" y="37"/>
                </a:lnTo>
                <a:lnTo>
                  <a:pt x="119" y="54"/>
                </a:lnTo>
                <a:lnTo>
                  <a:pt x="119" y="37"/>
                </a:lnTo>
                <a:lnTo>
                  <a:pt x="100" y="37"/>
                </a:lnTo>
                <a:lnTo>
                  <a:pt x="78" y="18"/>
                </a:lnTo>
                <a:lnTo>
                  <a:pt x="100" y="18"/>
                </a:lnTo>
                <a:lnTo>
                  <a:pt x="119" y="18"/>
                </a:lnTo>
                <a:lnTo>
                  <a:pt x="100" y="18"/>
                </a:lnTo>
                <a:lnTo>
                  <a:pt x="78" y="18"/>
                </a:lnTo>
                <a:lnTo>
                  <a:pt x="100" y="18"/>
                </a:lnTo>
                <a:lnTo>
                  <a:pt x="78" y="0"/>
                </a:lnTo>
                <a:lnTo>
                  <a:pt x="59" y="18"/>
                </a:lnTo>
                <a:lnTo>
                  <a:pt x="40" y="18"/>
                </a:lnTo>
                <a:lnTo>
                  <a:pt x="19" y="18"/>
                </a:lnTo>
                <a:lnTo>
                  <a:pt x="0" y="18"/>
                </a:lnTo>
                <a:lnTo>
                  <a:pt x="19" y="0"/>
                </a:lnTo>
                <a:lnTo>
                  <a:pt x="59" y="0"/>
                </a:lnTo>
                <a:lnTo>
                  <a:pt x="100" y="0"/>
                </a:lnTo>
                <a:lnTo>
                  <a:pt x="119" y="0"/>
                </a:lnTo>
                <a:lnTo>
                  <a:pt x="159" y="0"/>
                </a:lnTo>
                <a:lnTo>
                  <a:pt x="180" y="0"/>
                </a:lnTo>
                <a:lnTo>
                  <a:pt x="199" y="0"/>
                </a:lnTo>
                <a:lnTo>
                  <a:pt x="219" y="0"/>
                </a:lnTo>
                <a:lnTo>
                  <a:pt x="219" y="18"/>
                </a:lnTo>
                <a:lnTo>
                  <a:pt x="199" y="18"/>
                </a:lnTo>
                <a:lnTo>
                  <a:pt x="180" y="1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0" name="Freeform 74"/>
          <p:cNvSpPr>
            <a:spLocks/>
          </p:cNvSpPr>
          <p:nvPr/>
        </p:nvSpPr>
        <p:spPr bwMode="gray">
          <a:xfrm>
            <a:off x="5529263" y="2024063"/>
            <a:ext cx="41275" cy="25400"/>
          </a:xfrm>
          <a:custGeom>
            <a:avLst/>
            <a:gdLst>
              <a:gd name="T0" fmla="*/ 0 w 60"/>
              <a:gd name="T1" fmla="*/ 2147483647 h 36"/>
              <a:gd name="T2" fmla="*/ 0 w 60"/>
              <a:gd name="T3" fmla="*/ 2147483647 h 36"/>
              <a:gd name="T4" fmla="*/ 0 w 60"/>
              <a:gd name="T5" fmla="*/ 0 h 36"/>
              <a:gd name="T6" fmla="*/ 2147483647 w 60"/>
              <a:gd name="T7" fmla="*/ 0 h 36"/>
              <a:gd name="T8" fmla="*/ 2147483647 w 60"/>
              <a:gd name="T9" fmla="*/ 0 h 36"/>
              <a:gd name="T10" fmla="*/ 2147483647 w 60"/>
              <a:gd name="T11" fmla="*/ 2147483647 h 36"/>
              <a:gd name="T12" fmla="*/ 2147483647 w 60"/>
              <a:gd name="T13" fmla="*/ 2147483647 h 36"/>
              <a:gd name="T14" fmla="*/ 0 w 60"/>
              <a:gd name="T15" fmla="*/ 2147483647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36"/>
              <a:gd name="T26" fmla="*/ 60 w 60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36">
                <a:moveTo>
                  <a:pt x="0" y="36"/>
                </a:moveTo>
                <a:lnTo>
                  <a:pt x="0" y="19"/>
                </a:lnTo>
                <a:lnTo>
                  <a:pt x="0" y="0"/>
                </a:lnTo>
                <a:lnTo>
                  <a:pt x="41" y="0"/>
                </a:lnTo>
                <a:lnTo>
                  <a:pt x="60" y="0"/>
                </a:lnTo>
                <a:lnTo>
                  <a:pt x="60" y="19"/>
                </a:lnTo>
                <a:lnTo>
                  <a:pt x="41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1" name="Freeform 75"/>
          <p:cNvSpPr>
            <a:spLocks/>
          </p:cNvSpPr>
          <p:nvPr/>
        </p:nvSpPr>
        <p:spPr bwMode="gray">
          <a:xfrm>
            <a:off x="5457825" y="2038350"/>
            <a:ext cx="57150" cy="22225"/>
          </a:xfrm>
          <a:custGeom>
            <a:avLst/>
            <a:gdLst>
              <a:gd name="T0" fmla="*/ 2147483647 w 80"/>
              <a:gd name="T1" fmla="*/ 0 h 35"/>
              <a:gd name="T2" fmla="*/ 2147483647 w 80"/>
              <a:gd name="T3" fmla="*/ 2147483647 h 35"/>
              <a:gd name="T4" fmla="*/ 2147483647 w 80"/>
              <a:gd name="T5" fmla="*/ 2147483647 h 35"/>
              <a:gd name="T6" fmla="*/ 2147483647 w 80"/>
              <a:gd name="T7" fmla="*/ 2147483647 h 35"/>
              <a:gd name="T8" fmla="*/ 2147483647 w 80"/>
              <a:gd name="T9" fmla="*/ 2147483647 h 35"/>
              <a:gd name="T10" fmla="*/ 2147483647 w 80"/>
              <a:gd name="T11" fmla="*/ 2147483647 h 35"/>
              <a:gd name="T12" fmla="*/ 2147483647 w 80"/>
              <a:gd name="T13" fmla="*/ 2147483647 h 35"/>
              <a:gd name="T14" fmla="*/ 0 w 80"/>
              <a:gd name="T15" fmla="*/ 2147483647 h 35"/>
              <a:gd name="T16" fmla="*/ 0 w 80"/>
              <a:gd name="T17" fmla="*/ 2147483647 h 35"/>
              <a:gd name="T18" fmla="*/ 2147483647 w 80"/>
              <a:gd name="T19" fmla="*/ 2147483647 h 35"/>
              <a:gd name="T20" fmla="*/ 2147483647 w 80"/>
              <a:gd name="T21" fmla="*/ 0 h 35"/>
              <a:gd name="T22" fmla="*/ 2147483647 w 80"/>
              <a:gd name="T23" fmla="*/ 0 h 35"/>
              <a:gd name="T24" fmla="*/ 2147483647 w 80"/>
              <a:gd name="T25" fmla="*/ 0 h 35"/>
              <a:gd name="T26" fmla="*/ 2147483647 w 80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0"/>
              <a:gd name="T43" fmla="*/ 0 h 35"/>
              <a:gd name="T44" fmla="*/ 80 w 80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0" h="35">
                <a:moveTo>
                  <a:pt x="80" y="0"/>
                </a:moveTo>
                <a:lnTo>
                  <a:pt x="80" y="17"/>
                </a:lnTo>
                <a:lnTo>
                  <a:pt x="59" y="35"/>
                </a:lnTo>
                <a:lnTo>
                  <a:pt x="40" y="35"/>
                </a:lnTo>
                <a:lnTo>
                  <a:pt x="59" y="35"/>
                </a:lnTo>
                <a:lnTo>
                  <a:pt x="40" y="35"/>
                </a:lnTo>
                <a:lnTo>
                  <a:pt x="19" y="35"/>
                </a:lnTo>
                <a:lnTo>
                  <a:pt x="0" y="35"/>
                </a:lnTo>
                <a:lnTo>
                  <a:pt x="0" y="17"/>
                </a:lnTo>
                <a:lnTo>
                  <a:pt x="19" y="17"/>
                </a:lnTo>
                <a:lnTo>
                  <a:pt x="19" y="0"/>
                </a:lnTo>
                <a:lnTo>
                  <a:pt x="40" y="0"/>
                </a:lnTo>
                <a:lnTo>
                  <a:pt x="59" y="0"/>
                </a:lnTo>
                <a:lnTo>
                  <a:pt x="80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2" name="Freeform 76"/>
          <p:cNvSpPr>
            <a:spLocks/>
          </p:cNvSpPr>
          <p:nvPr/>
        </p:nvSpPr>
        <p:spPr bwMode="gray">
          <a:xfrm>
            <a:off x="5386388" y="2060575"/>
            <a:ext cx="44450" cy="14288"/>
          </a:xfrm>
          <a:custGeom>
            <a:avLst/>
            <a:gdLst>
              <a:gd name="T0" fmla="*/ 2147483647 w 59"/>
              <a:gd name="T1" fmla="*/ 2147483647 h 19"/>
              <a:gd name="T2" fmla="*/ 2147483647 w 59"/>
              <a:gd name="T3" fmla="*/ 2147483647 h 19"/>
              <a:gd name="T4" fmla="*/ 0 w 59"/>
              <a:gd name="T5" fmla="*/ 2147483647 h 19"/>
              <a:gd name="T6" fmla="*/ 0 w 59"/>
              <a:gd name="T7" fmla="*/ 0 h 19"/>
              <a:gd name="T8" fmla="*/ 2147483647 w 59"/>
              <a:gd name="T9" fmla="*/ 0 h 19"/>
              <a:gd name="T10" fmla="*/ 2147483647 w 59"/>
              <a:gd name="T11" fmla="*/ 0 h 19"/>
              <a:gd name="T12" fmla="*/ 2147483647 w 59"/>
              <a:gd name="T13" fmla="*/ 0 h 19"/>
              <a:gd name="T14" fmla="*/ 2147483647 w 59"/>
              <a:gd name="T15" fmla="*/ 2147483647 h 19"/>
              <a:gd name="T16" fmla="*/ 2147483647 w 59"/>
              <a:gd name="T17" fmla="*/ 2147483647 h 1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19"/>
              <a:gd name="T29" fmla="*/ 59 w 59"/>
              <a:gd name="T30" fmla="*/ 19 h 1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19">
                <a:moveTo>
                  <a:pt x="40" y="19"/>
                </a:moveTo>
                <a:lnTo>
                  <a:pt x="19" y="19"/>
                </a:lnTo>
                <a:lnTo>
                  <a:pt x="0" y="19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lnTo>
                  <a:pt x="59" y="0"/>
                </a:lnTo>
                <a:lnTo>
                  <a:pt x="59" y="19"/>
                </a:lnTo>
                <a:lnTo>
                  <a:pt x="40" y="19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3" name="Freeform 77"/>
          <p:cNvSpPr>
            <a:spLocks/>
          </p:cNvSpPr>
          <p:nvPr/>
        </p:nvSpPr>
        <p:spPr bwMode="gray">
          <a:xfrm>
            <a:off x="5345113" y="1998663"/>
            <a:ext cx="85725" cy="61912"/>
          </a:xfrm>
          <a:custGeom>
            <a:avLst/>
            <a:gdLst>
              <a:gd name="T0" fmla="*/ 2147483647 w 119"/>
              <a:gd name="T1" fmla="*/ 2147483647 h 89"/>
              <a:gd name="T2" fmla="*/ 2147483647 w 119"/>
              <a:gd name="T3" fmla="*/ 2147483647 h 89"/>
              <a:gd name="T4" fmla="*/ 2147483647 w 119"/>
              <a:gd name="T5" fmla="*/ 2147483647 h 89"/>
              <a:gd name="T6" fmla="*/ 2147483647 w 119"/>
              <a:gd name="T7" fmla="*/ 2147483647 h 89"/>
              <a:gd name="T8" fmla="*/ 0 w 119"/>
              <a:gd name="T9" fmla="*/ 2147483647 h 89"/>
              <a:gd name="T10" fmla="*/ 0 w 119"/>
              <a:gd name="T11" fmla="*/ 2147483647 h 89"/>
              <a:gd name="T12" fmla="*/ 2147483647 w 119"/>
              <a:gd name="T13" fmla="*/ 2147483647 h 89"/>
              <a:gd name="T14" fmla="*/ 2147483647 w 119"/>
              <a:gd name="T15" fmla="*/ 2147483647 h 89"/>
              <a:gd name="T16" fmla="*/ 2147483647 w 119"/>
              <a:gd name="T17" fmla="*/ 2147483647 h 89"/>
              <a:gd name="T18" fmla="*/ 2147483647 w 119"/>
              <a:gd name="T19" fmla="*/ 2147483647 h 89"/>
              <a:gd name="T20" fmla="*/ 2147483647 w 119"/>
              <a:gd name="T21" fmla="*/ 2147483647 h 89"/>
              <a:gd name="T22" fmla="*/ 2147483647 w 119"/>
              <a:gd name="T23" fmla="*/ 2147483647 h 89"/>
              <a:gd name="T24" fmla="*/ 2147483647 w 119"/>
              <a:gd name="T25" fmla="*/ 2147483647 h 89"/>
              <a:gd name="T26" fmla="*/ 2147483647 w 119"/>
              <a:gd name="T27" fmla="*/ 2147483647 h 89"/>
              <a:gd name="T28" fmla="*/ 2147483647 w 119"/>
              <a:gd name="T29" fmla="*/ 2147483647 h 89"/>
              <a:gd name="T30" fmla="*/ 2147483647 w 119"/>
              <a:gd name="T31" fmla="*/ 0 h 89"/>
              <a:gd name="T32" fmla="*/ 2147483647 w 119"/>
              <a:gd name="T33" fmla="*/ 2147483647 h 89"/>
              <a:gd name="T34" fmla="*/ 2147483647 w 119"/>
              <a:gd name="T35" fmla="*/ 2147483647 h 89"/>
              <a:gd name="T36" fmla="*/ 2147483647 w 119"/>
              <a:gd name="T37" fmla="*/ 2147483647 h 89"/>
              <a:gd name="T38" fmla="*/ 2147483647 w 119"/>
              <a:gd name="T39" fmla="*/ 2147483647 h 89"/>
              <a:gd name="T40" fmla="*/ 2147483647 w 119"/>
              <a:gd name="T41" fmla="*/ 2147483647 h 89"/>
              <a:gd name="T42" fmla="*/ 2147483647 w 119"/>
              <a:gd name="T43" fmla="*/ 2147483647 h 89"/>
              <a:gd name="T44" fmla="*/ 2147483647 w 119"/>
              <a:gd name="T45" fmla="*/ 2147483647 h 89"/>
              <a:gd name="T46" fmla="*/ 2147483647 w 119"/>
              <a:gd name="T47" fmla="*/ 2147483647 h 89"/>
              <a:gd name="T48" fmla="*/ 2147483647 w 119"/>
              <a:gd name="T49" fmla="*/ 2147483647 h 8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9"/>
              <a:gd name="T76" fmla="*/ 0 h 89"/>
              <a:gd name="T77" fmla="*/ 119 w 119"/>
              <a:gd name="T78" fmla="*/ 89 h 8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9" h="89">
                <a:moveTo>
                  <a:pt x="100" y="71"/>
                </a:moveTo>
                <a:lnTo>
                  <a:pt x="79" y="71"/>
                </a:lnTo>
                <a:lnTo>
                  <a:pt x="60" y="89"/>
                </a:lnTo>
                <a:lnTo>
                  <a:pt x="39" y="89"/>
                </a:lnTo>
                <a:lnTo>
                  <a:pt x="0" y="71"/>
                </a:lnTo>
                <a:lnTo>
                  <a:pt x="0" y="54"/>
                </a:lnTo>
                <a:lnTo>
                  <a:pt x="19" y="54"/>
                </a:lnTo>
                <a:lnTo>
                  <a:pt x="60" y="54"/>
                </a:lnTo>
                <a:lnTo>
                  <a:pt x="60" y="35"/>
                </a:lnTo>
                <a:lnTo>
                  <a:pt x="39" y="54"/>
                </a:lnTo>
                <a:lnTo>
                  <a:pt x="39" y="35"/>
                </a:lnTo>
                <a:lnTo>
                  <a:pt x="60" y="35"/>
                </a:lnTo>
                <a:lnTo>
                  <a:pt x="79" y="35"/>
                </a:lnTo>
                <a:lnTo>
                  <a:pt x="100" y="18"/>
                </a:lnTo>
                <a:lnTo>
                  <a:pt x="119" y="18"/>
                </a:lnTo>
                <a:lnTo>
                  <a:pt x="119" y="0"/>
                </a:lnTo>
                <a:lnTo>
                  <a:pt x="119" y="18"/>
                </a:lnTo>
                <a:lnTo>
                  <a:pt x="119" y="35"/>
                </a:lnTo>
                <a:lnTo>
                  <a:pt x="100" y="35"/>
                </a:lnTo>
                <a:lnTo>
                  <a:pt x="79" y="35"/>
                </a:lnTo>
                <a:lnTo>
                  <a:pt x="60" y="54"/>
                </a:lnTo>
                <a:lnTo>
                  <a:pt x="79" y="54"/>
                </a:lnTo>
                <a:lnTo>
                  <a:pt x="119" y="54"/>
                </a:lnTo>
                <a:lnTo>
                  <a:pt x="119" y="71"/>
                </a:lnTo>
                <a:lnTo>
                  <a:pt x="100" y="7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4" name="Freeform 78"/>
          <p:cNvSpPr>
            <a:spLocks/>
          </p:cNvSpPr>
          <p:nvPr/>
        </p:nvSpPr>
        <p:spPr bwMode="gray">
          <a:xfrm>
            <a:off x="4868863" y="3427413"/>
            <a:ext cx="55562" cy="25400"/>
          </a:xfrm>
          <a:custGeom>
            <a:avLst/>
            <a:gdLst>
              <a:gd name="T0" fmla="*/ 0 w 81"/>
              <a:gd name="T1" fmla="*/ 2147483647 h 36"/>
              <a:gd name="T2" fmla="*/ 2147483647 w 81"/>
              <a:gd name="T3" fmla="*/ 2147483647 h 36"/>
              <a:gd name="T4" fmla="*/ 2147483647 w 81"/>
              <a:gd name="T5" fmla="*/ 2147483647 h 36"/>
              <a:gd name="T6" fmla="*/ 2147483647 w 81"/>
              <a:gd name="T7" fmla="*/ 0 h 36"/>
              <a:gd name="T8" fmla="*/ 2147483647 w 81"/>
              <a:gd name="T9" fmla="*/ 2147483647 h 36"/>
              <a:gd name="T10" fmla="*/ 2147483647 w 81"/>
              <a:gd name="T11" fmla="*/ 2147483647 h 36"/>
              <a:gd name="T12" fmla="*/ 2147483647 w 81"/>
              <a:gd name="T13" fmla="*/ 2147483647 h 36"/>
              <a:gd name="T14" fmla="*/ 2147483647 w 81"/>
              <a:gd name="T15" fmla="*/ 2147483647 h 36"/>
              <a:gd name="T16" fmla="*/ 0 w 81"/>
              <a:gd name="T17" fmla="*/ 2147483647 h 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1"/>
              <a:gd name="T28" fmla="*/ 0 h 36"/>
              <a:gd name="T29" fmla="*/ 81 w 81"/>
              <a:gd name="T30" fmla="*/ 36 h 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1" h="36">
                <a:moveTo>
                  <a:pt x="0" y="36"/>
                </a:moveTo>
                <a:lnTo>
                  <a:pt x="21" y="17"/>
                </a:lnTo>
                <a:lnTo>
                  <a:pt x="40" y="17"/>
                </a:lnTo>
                <a:lnTo>
                  <a:pt x="81" y="0"/>
                </a:lnTo>
                <a:lnTo>
                  <a:pt x="61" y="17"/>
                </a:lnTo>
                <a:lnTo>
                  <a:pt x="61" y="36"/>
                </a:lnTo>
                <a:lnTo>
                  <a:pt x="40" y="36"/>
                </a:lnTo>
                <a:lnTo>
                  <a:pt x="21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5" name="Freeform 79"/>
          <p:cNvSpPr>
            <a:spLocks/>
          </p:cNvSpPr>
          <p:nvPr/>
        </p:nvSpPr>
        <p:spPr bwMode="gray">
          <a:xfrm>
            <a:off x="5205413" y="2500313"/>
            <a:ext cx="42862" cy="25400"/>
          </a:xfrm>
          <a:custGeom>
            <a:avLst/>
            <a:gdLst>
              <a:gd name="T0" fmla="*/ 2147483647 w 61"/>
              <a:gd name="T1" fmla="*/ 2147483647 h 37"/>
              <a:gd name="T2" fmla="*/ 2147483647 w 61"/>
              <a:gd name="T3" fmla="*/ 0 h 37"/>
              <a:gd name="T4" fmla="*/ 2147483647 w 61"/>
              <a:gd name="T5" fmla="*/ 2147483647 h 37"/>
              <a:gd name="T6" fmla="*/ 2147483647 w 61"/>
              <a:gd name="T7" fmla="*/ 2147483647 h 37"/>
              <a:gd name="T8" fmla="*/ 2147483647 w 61"/>
              <a:gd name="T9" fmla="*/ 2147483647 h 37"/>
              <a:gd name="T10" fmla="*/ 2147483647 w 61"/>
              <a:gd name="T11" fmla="*/ 2147483647 h 37"/>
              <a:gd name="T12" fmla="*/ 2147483647 w 61"/>
              <a:gd name="T13" fmla="*/ 2147483647 h 37"/>
              <a:gd name="T14" fmla="*/ 0 w 61"/>
              <a:gd name="T15" fmla="*/ 2147483647 h 37"/>
              <a:gd name="T16" fmla="*/ 0 w 61"/>
              <a:gd name="T17" fmla="*/ 2147483647 h 37"/>
              <a:gd name="T18" fmla="*/ 2147483647 w 61"/>
              <a:gd name="T19" fmla="*/ 2147483647 h 3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1"/>
              <a:gd name="T31" fmla="*/ 0 h 37"/>
              <a:gd name="T32" fmla="*/ 61 w 61"/>
              <a:gd name="T33" fmla="*/ 37 h 3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1" h="37">
                <a:moveTo>
                  <a:pt x="21" y="17"/>
                </a:moveTo>
                <a:lnTo>
                  <a:pt x="21" y="0"/>
                </a:lnTo>
                <a:lnTo>
                  <a:pt x="40" y="17"/>
                </a:lnTo>
                <a:lnTo>
                  <a:pt x="61" y="17"/>
                </a:lnTo>
                <a:lnTo>
                  <a:pt x="61" y="37"/>
                </a:lnTo>
                <a:lnTo>
                  <a:pt x="40" y="37"/>
                </a:lnTo>
                <a:lnTo>
                  <a:pt x="21" y="37"/>
                </a:lnTo>
                <a:lnTo>
                  <a:pt x="0" y="37"/>
                </a:lnTo>
                <a:lnTo>
                  <a:pt x="0" y="17"/>
                </a:lnTo>
                <a:lnTo>
                  <a:pt x="21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6" name="Freeform 80"/>
          <p:cNvSpPr>
            <a:spLocks/>
          </p:cNvSpPr>
          <p:nvPr/>
        </p:nvSpPr>
        <p:spPr bwMode="gray">
          <a:xfrm>
            <a:off x="5430838" y="2473325"/>
            <a:ext cx="41275" cy="26988"/>
          </a:xfrm>
          <a:custGeom>
            <a:avLst/>
            <a:gdLst>
              <a:gd name="T0" fmla="*/ 2147483647 w 60"/>
              <a:gd name="T1" fmla="*/ 2147483647 h 36"/>
              <a:gd name="T2" fmla="*/ 2147483647 w 60"/>
              <a:gd name="T3" fmla="*/ 2147483647 h 36"/>
              <a:gd name="T4" fmla="*/ 2147483647 w 60"/>
              <a:gd name="T5" fmla="*/ 2147483647 h 36"/>
              <a:gd name="T6" fmla="*/ 2147483647 w 60"/>
              <a:gd name="T7" fmla="*/ 2147483647 h 36"/>
              <a:gd name="T8" fmla="*/ 0 w 60"/>
              <a:gd name="T9" fmla="*/ 2147483647 h 36"/>
              <a:gd name="T10" fmla="*/ 2147483647 w 60"/>
              <a:gd name="T11" fmla="*/ 0 h 36"/>
              <a:gd name="T12" fmla="*/ 2147483647 w 60"/>
              <a:gd name="T13" fmla="*/ 2147483647 h 36"/>
              <a:gd name="T14" fmla="*/ 2147483647 w 60"/>
              <a:gd name="T15" fmla="*/ 2147483647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36"/>
              <a:gd name="T26" fmla="*/ 60 w 60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36">
                <a:moveTo>
                  <a:pt x="60" y="19"/>
                </a:moveTo>
                <a:lnTo>
                  <a:pt x="60" y="36"/>
                </a:lnTo>
                <a:lnTo>
                  <a:pt x="41" y="36"/>
                </a:lnTo>
                <a:lnTo>
                  <a:pt x="19" y="36"/>
                </a:lnTo>
                <a:lnTo>
                  <a:pt x="0" y="19"/>
                </a:lnTo>
                <a:lnTo>
                  <a:pt x="19" y="0"/>
                </a:lnTo>
                <a:lnTo>
                  <a:pt x="41" y="19"/>
                </a:lnTo>
                <a:lnTo>
                  <a:pt x="60" y="19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7" name="Freeform 81"/>
          <p:cNvSpPr>
            <a:spLocks/>
          </p:cNvSpPr>
          <p:nvPr/>
        </p:nvSpPr>
        <p:spPr bwMode="gray">
          <a:xfrm>
            <a:off x="5686425" y="2359025"/>
            <a:ext cx="26988" cy="11113"/>
          </a:xfrm>
          <a:custGeom>
            <a:avLst/>
            <a:gdLst>
              <a:gd name="T0" fmla="*/ 0 w 40"/>
              <a:gd name="T1" fmla="*/ 2147483647 h 16"/>
              <a:gd name="T2" fmla="*/ 2147483647 w 40"/>
              <a:gd name="T3" fmla="*/ 2147483647 h 16"/>
              <a:gd name="T4" fmla="*/ 2147483647 w 40"/>
              <a:gd name="T5" fmla="*/ 2147483647 h 16"/>
              <a:gd name="T6" fmla="*/ 2147483647 w 40"/>
              <a:gd name="T7" fmla="*/ 0 h 16"/>
              <a:gd name="T8" fmla="*/ 2147483647 w 40"/>
              <a:gd name="T9" fmla="*/ 0 h 16"/>
              <a:gd name="T10" fmla="*/ 0 w 40"/>
              <a:gd name="T11" fmla="*/ 0 h 16"/>
              <a:gd name="T12" fmla="*/ 0 w 40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16"/>
              <a:gd name="T23" fmla="*/ 40 w 40"/>
              <a:gd name="T24" fmla="*/ 16 h 1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16">
                <a:moveTo>
                  <a:pt x="0" y="16"/>
                </a:moveTo>
                <a:lnTo>
                  <a:pt x="19" y="16"/>
                </a:lnTo>
                <a:lnTo>
                  <a:pt x="40" y="16"/>
                </a:lnTo>
                <a:lnTo>
                  <a:pt x="40" y="0"/>
                </a:lnTo>
                <a:lnTo>
                  <a:pt x="19" y="0"/>
                </a:lnTo>
                <a:lnTo>
                  <a:pt x="0" y="0"/>
                </a:lnTo>
                <a:lnTo>
                  <a:pt x="0" y="1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8" name="Freeform 82"/>
          <p:cNvSpPr>
            <a:spLocks/>
          </p:cNvSpPr>
          <p:nvPr/>
        </p:nvSpPr>
        <p:spPr bwMode="gray">
          <a:xfrm>
            <a:off x="4421188" y="2090738"/>
            <a:ext cx="279400" cy="138112"/>
          </a:xfrm>
          <a:custGeom>
            <a:avLst/>
            <a:gdLst>
              <a:gd name="T0" fmla="*/ 2147483647 w 401"/>
              <a:gd name="T1" fmla="*/ 2147483647 h 196"/>
              <a:gd name="T2" fmla="*/ 2147483647 w 401"/>
              <a:gd name="T3" fmla="*/ 2147483647 h 196"/>
              <a:gd name="T4" fmla="*/ 2147483647 w 401"/>
              <a:gd name="T5" fmla="*/ 2147483647 h 196"/>
              <a:gd name="T6" fmla="*/ 2147483647 w 401"/>
              <a:gd name="T7" fmla="*/ 2147483647 h 196"/>
              <a:gd name="T8" fmla="*/ 2147483647 w 401"/>
              <a:gd name="T9" fmla="*/ 2147483647 h 196"/>
              <a:gd name="T10" fmla="*/ 2147483647 w 401"/>
              <a:gd name="T11" fmla="*/ 2147483647 h 196"/>
              <a:gd name="T12" fmla="*/ 2147483647 w 401"/>
              <a:gd name="T13" fmla="*/ 2147483647 h 196"/>
              <a:gd name="T14" fmla="*/ 2147483647 w 401"/>
              <a:gd name="T15" fmla="*/ 2147483647 h 196"/>
              <a:gd name="T16" fmla="*/ 2147483647 w 401"/>
              <a:gd name="T17" fmla="*/ 2147483647 h 196"/>
              <a:gd name="T18" fmla="*/ 2147483647 w 401"/>
              <a:gd name="T19" fmla="*/ 2147483647 h 196"/>
              <a:gd name="T20" fmla="*/ 2147483647 w 401"/>
              <a:gd name="T21" fmla="*/ 2147483647 h 196"/>
              <a:gd name="T22" fmla="*/ 2147483647 w 401"/>
              <a:gd name="T23" fmla="*/ 2147483647 h 196"/>
              <a:gd name="T24" fmla="*/ 2147483647 w 401"/>
              <a:gd name="T25" fmla="*/ 2147483647 h 196"/>
              <a:gd name="T26" fmla="*/ 2147483647 w 401"/>
              <a:gd name="T27" fmla="*/ 2147483647 h 196"/>
              <a:gd name="T28" fmla="*/ 2147483647 w 401"/>
              <a:gd name="T29" fmla="*/ 2147483647 h 196"/>
              <a:gd name="T30" fmla="*/ 2147483647 w 401"/>
              <a:gd name="T31" fmla="*/ 2147483647 h 196"/>
              <a:gd name="T32" fmla="*/ 2147483647 w 401"/>
              <a:gd name="T33" fmla="*/ 2147483647 h 196"/>
              <a:gd name="T34" fmla="*/ 2147483647 w 401"/>
              <a:gd name="T35" fmla="*/ 2147483647 h 196"/>
              <a:gd name="T36" fmla="*/ 2147483647 w 401"/>
              <a:gd name="T37" fmla="*/ 2147483647 h 196"/>
              <a:gd name="T38" fmla="*/ 2147483647 w 401"/>
              <a:gd name="T39" fmla="*/ 2147483647 h 196"/>
              <a:gd name="T40" fmla="*/ 2147483647 w 401"/>
              <a:gd name="T41" fmla="*/ 2147483647 h 196"/>
              <a:gd name="T42" fmla="*/ 2147483647 w 401"/>
              <a:gd name="T43" fmla="*/ 2147483647 h 196"/>
              <a:gd name="T44" fmla="*/ 0 w 401"/>
              <a:gd name="T45" fmla="*/ 2147483647 h 196"/>
              <a:gd name="T46" fmla="*/ 0 w 401"/>
              <a:gd name="T47" fmla="*/ 2147483647 h 196"/>
              <a:gd name="T48" fmla="*/ 2147483647 w 401"/>
              <a:gd name="T49" fmla="*/ 2147483647 h 196"/>
              <a:gd name="T50" fmla="*/ 2147483647 w 401"/>
              <a:gd name="T51" fmla="*/ 2147483647 h 196"/>
              <a:gd name="T52" fmla="*/ 2147483647 w 401"/>
              <a:gd name="T53" fmla="*/ 2147483647 h 196"/>
              <a:gd name="T54" fmla="*/ 2147483647 w 401"/>
              <a:gd name="T55" fmla="*/ 2147483647 h 196"/>
              <a:gd name="T56" fmla="*/ 2147483647 w 401"/>
              <a:gd name="T57" fmla="*/ 2147483647 h 196"/>
              <a:gd name="T58" fmla="*/ 2147483647 w 401"/>
              <a:gd name="T59" fmla="*/ 2147483647 h 196"/>
              <a:gd name="T60" fmla="*/ 2147483647 w 401"/>
              <a:gd name="T61" fmla="*/ 2147483647 h 196"/>
              <a:gd name="T62" fmla="*/ 2147483647 w 401"/>
              <a:gd name="T63" fmla="*/ 0 h 196"/>
              <a:gd name="T64" fmla="*/ 2147483647 w 401"/>
              <a:gd name="T65" fmla="*/ 0 h 196"/>
              <a:gd name="T66" fmla="*/ 2147483647 w 401"/>
              <a:gd name="T67" fmla="*/ 2147483647 h 196"/>
              <a:gd name="T68" fmla="*/ 2147483647 w 401"/>
              <a:gd name="T69" fmla="*/ 2147483647 h 196"/>
              <a:gd name="T70" fmla="*/ 2147483647 w 401"/>
              <a:gd name="T71" fmla="*/ 2147483647 h 196"/>
              <a:gd name="T72" fmla="*/ 2147483647 w 401"/>
              <a:gd name="T73" fmla="*/ 2147483647 h 196"/>
              <a:gd name="T74" fmla="*/ 2147483647 w 401"/>
              <a:gd name="T75" fmla="*/ 2147483647 h 196"/>
              <a:gd name="T76" fmla="*/ 2147483647 w 401"/>
              <a:gd name="T77" fmla="*/ 2147483647 h 196"/>
              <a:gd name="T78" fmla="*/ 2147483647 w 401"/>
              <a:gd name="T79" fmla="*/ 2147483647 h 19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01"/>
              <a:gd name="T121" fmla="*/ 0 h 196"/>
              <a:gd name="T122" fmla="*/ 401 w 401"/>
              <a:gd name="T123" fmla="*/ 196 h 19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01" h="196">
                <a:moveTo>
                  <a:pt x="322" y="161"/>
                </a:moveTo>
                <a:lnTo>
                  <a:pt x="322" y="142"/>
                </a:lnTo>
                <a:lnTo>
                  <a:pt x="301" y="142"/>
                </a:lnTo>
                <a:lnTo>
                  <a:pt x="282" y="142"/>
                </a:lnTo>
                <a:lnTo>
                  <a:pt x="301" y="142"/>
                </a:lnTo>
                <a:lnTo>
                  <a:pt x="301" y="125"/>
                </a:lnTo>
                <a:lnTo>
                  <a:pt x="282" y="106"/>
                </a:lnTo>
                <a:lnTo>
                  <a:pt x="282" y="88"/>
                </a:lnTo>
                <a:lnTo>
                  <a:pt x="301" y="88"/>
                </a:lnTo>
                <a:lnTo>
                  <a:pt x="282" y="88"/>
                </a:lnTo>
                <a:lnTo>
                  <a:pt x="259" y="88"/>
                </a:lnTo>
                <a:lnTo>
                  <a:pt x="240" y="88"/>
                </a:lnTo>
                <a:lnTo>
                  <a:pt x="240" y="125"/>
                </a:lnTo>
                <a:lnTo>
                  <a:pt x="219" y="142"/>
                </a:lnTo>
                <a:lnTo>
                  <a:pt x="199" y="142"/>
                </a:lnTo>
                <a:lnTo>
                  <a:pt x="199" y="179"/>
                </a:lnTo>
                <a:lnTo>
                  <a:pt x="199" y="196"/>
                </a:lnTo>
                <a:lnTo>
                  <a:pt x="180" y="196"/>
                </a:lnTo>
                <a:lnTo>
                  <a:pt x="140" y="196"/>
                </a:lnTo>
                <a:lnTo>
                  <a:pt x="119" y="179"/>
                </a:lnTo>
                <a:lnTo>
                  <a:pt x="80" y="142"/>
                </a:lnTo>
                <a:lnTo>
                  <a:pt x="119" y="142"/>
                </a:lnTo>
                <a:lnTo>
                  <a:pt x="140" y="142"/>
                </a:lnTo>
                <a:lnTo>
                  <a:pt x="159" y="142"/>
                </a:lnTo>
                <a:lnTo>
                  <a:pt x="140" y="142"/>
                </a:lnTo>
                <a:lnTo>
                  <a:pt x="119" y="142"/>
                </a:lnTo>
                <a:lnTo>
                  <a:pt x="100" y="142"/>
                </a:lnTo>
                <a:lnTo>
                  <a:pt x="80" y="142"/>
                </a:lnTo>
                <a:lnTo>
                  <a:pt x="80" y="125"/>
                </a:lnTo>
                <a:lnTo>
                  <a:pt x="100" y="106"/>
                </a:lnTo>
                <a:lnTo>
                  <a:pt x="119" y="106"/>
                </a:lnTo>
                <a:lnTo>
                  <a:pt x="140" y="106"/>
                </a:lnTo>
                <a:lnTo>
                  <a:pt x="140" y="88"/>
                </a:lnTo>
                <a:lnTo>
                  <a:pt x="159" y="88"/>
                </a:lnTo>
                <a:lnTo>
                  <a:pt x="140" y="88"/>
                </a:lnTo>
                <a:lnTo>
                  <a:pt x="119" y="88"/>
                </a:lnTo>
                <a:lnTo>
                  <a:pt x="100" y="88"/>
                </a:lnTo>
                <a:lnTo>
                  <a:pt x="80" y="106"/>
                </a:lnTo>
                <a:lnTo>
                  <a:pt x="59" y="106"/>
                </a:lnTo>
                <a:lnTo>
                  <a:pt x="59" y="88"/>
                </a:lnTo>
                <a:lnTo>
                  <a:pt x="40" y="88"/>
                </a:lnTo>
                <a:lnTo>
                  <a:pt x="59" y="88"/>
                </a:lnTo>
                <a:lnTo>
                  <a:pt x="40" y="88"/>
                </a:lnTo>
                <a:lnTo>
                  <a:pt x="19" y="71"/>
                </a:lnTo>
                <a:lnTo>
                  <a:pt x="19" y="52"/>
                </a:lnTo>
                <a:lnTo>
                  <a:pt x="0" y="52"/>
                </a:lnTo>
                <a:lnTo>
                  <a:pt x="0" y="37"/>
                </a:lnTo>
                <a:lnTo>
                  <a:pt x="0" y="19"/>
                </a:lnTo>
                <a:lnTo>
                  <a:pt x="19" y="19"/>
                </a:lnTo>
                <a:lnTo>
                  <a:pt x="40" y="19"/>
                </a:lnTo>
                <a:lnTo>
                  <a:pt x="59" y="19"/>
                </a:lnTo>
                <a:lnTo>
                  <a:pt x="80" y="19"/>
                </a:lnTo>
                <a:lnTo>
                  <a:pt x="59" y="19"/>
                </a:lnTo>
                <a:lnTo>
                  <a:pt x="80" y="19"/>
                </a:lnTo>
                <a:lnTo>
                  <a:pt x="100" y="37"/>
                </a:lnTo>
                <a:lnTo>
                  <a:pt x="80" y="37"/>
                </a:lnTo>
                <a:lnTo>
                  <a:pt x="80" y="19"/>
                </a:lnTo>
                <a:lnTo>
                  <a:pt x="100" y="19"/>
                </a:lnTo>
                <a:lnTo>
                  <a:pt x="140" y="19"/>
                </a:lnTo>
                <a:lnTo>
                  <a:pt x="140" y="37"/>
                </a:lnTo>
                <a:lnTo>
                  <a:pt x="159" y="52"/>
                </a:lnTo>
                <a:lnTo>
                  <a:pt x="140" y="37"/>
                </a:lnTo>
                <a:lnTo>
                  <a:pt x="140" y="19"/>
                </a:lnTo>
                <a:lnTo>
                  <a:pt x="140" y="0"/>
                </a:lnTo>
                <a:lnTo>
                  <a:pt x="159" y="0"/>
                </a:lnTo>
                <a:lnTo>
                  <a:pt x="180" y="0"/>
                </a:lnTo>
                <a:lnTo>
                  <a:pt x="199" y="0"/>
                </a:lnTo>
                <a:lnTo>
                  <a:pt x="199" y="19"/>
                </a:lnTo>
                <a:lnTo>
                  <a:pt x="219" y="19"/>
                </a:lnTo>
                <a:lnTo>
                  <a:pt x="240" y="19"/>
                </a:lnTo>
                <a:lnTo>
                  <a:pt x="240" y="37"/>
                </a:lnTo>
                <a:lnTo>
                  <a:pt x="240" y="52"/>
                </a:lnTo>
                <a:lnTo>
                  <a:pt x="301" y="71"/>
                </a:lnTo>
                <a:lnTo>
                  <a:pt x="322" y="88"/>
                </a:lnTo>
                <a:lnTo>
                  <a:pt x="341" y="88"/>
                </a:lnTo>
                <a:lnTo>
                  <a:pt x="361" y="88"/>
                </a:lnTo>
                <a:lnTo>
                  <a:pt x="382" y="125"/>
                </a:lnTo>
                <a:lnTo>
                  <a:pt x="401" y="142"/>
                </a:lnTo>
                <a:lnTo>
                  <a:pt x="382" y="142"/>
                </a:lnTo>
                <a:lnTo>
                  <a:pt x="361" y="161"/>
                </a:lnTo>
                <a:lnTo>
                  <a:pt x="322" y="16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79" name="Freeform 83"/>
          <p:cNvSpPr>
            <a:spLocks/>
          </p:cNvSpPr>
          <p:nvPr/>
        </p:nvSpPr>
        <p:spPr bwMode="gray">
          <a:xfrm>
            <a:off x="4559300" y="2060575"/>
            <a:ext cx="196850" cy="65088"/>
          </a:xfrm>
          <a:custGeom>
            <a:avLst/>
            <a:gdLst>
              <a:gd name="T0" fmla="*/ 2147483647 w 283"/>
              <a:gd name="T1" fmla="*/ 2147483647 h 88"/>
              <a:gd name="T2" fmla="*/ 2147483647 w 283"/>
              <a:gd name="T3" fmla="*/ 2147483647 h 88"/>
              <a:gd name="T4" fmla="*/ 2147483647 w 283"/>
              <a:gd name="T5" fmla="*/ 2147483647 h 88"/>
              <a:gd name="T6" fmla="*/ 2147483647 w 283"/>
              <a:gd name="T7" fmla="*/ 2147483647 h 88"/>
              <a:gd name="T8" fmla="*/ 2147483647 w 283"/>
              <a:gd name="T9" fmla="*/ 2147483647 h 88"/>
              <a:gd name="T10" fmla="*/ 2147483647 w 283"/>
              <a:gd name="T11" fmla="*/ 2147483647 h 88"/>
              <a:gd name="T12" fmla="*/ 2147483647 w 283"/>
              <a:gd name="T13" fmla="*/ 2147483647 h 88"/>
              <a:gd name="T14" fmla="*/ 2147483647 w 283"/>
              <a:gd name="T15" fmla="*/ 2147483647 h 88"/>
              <a:gd name="T16" fmla="*/ 2147483647 w 283"/>
              <a:gd name="T17" fmla="*/ 2147483647 h 88"/>
              <a:gd name="T18" fmla="*/ 2147483647 w 283"/>
              <a:gd name="T19" fmla="*/ 2147483647 h 88"/>
              <a:gd name="T20" fmla="*/ 2147483647 w 283"/>
              <a:gd name="T21" fmla="*/ 2147483647 h 88"/>
              <a:gd name="T22" fmla="*/ 2147483647 w 283"/>
              <a:gd name="T23" fmla="*/ 2147483647 h 88"/>
              <a:gd name="T24" fmla="*/ 2147483647 w 283"/>
              <a:gd name="T25" fmla="*/ 2147483647 h 88"/>
              <a:gd name="T26" fmla="*/ 2147483647 w 283"/>
              <a:gd name="T27" fmla="*/ 2147483647 h 88"/>
              <a:gd name="T28" fmla="*/ 2147483647 w 283"/>
              <a:gd name="T29" fmla="*/ 2147483647 h 88"/>
              <a:gd name="T30" fmla="*/ 2147483647 w 283"/>
              <a:gd name="T31" fmla="*/ 2147483647 h 88"/>
              <a:gd name="T32" fmla="*/ 2147483647 w 283"/>
              <a:gd name="T33" fmla="*/ 2147483647 h 88"/>
              <a:gd name="T34" fmla="*/ 0 w 283"/>
              <a:gd name="T35" fmla="*/ 2147483647 h 88"/>
              <a:gd name="T36" fmla="*/ 0 w 283"/>
              <a:gd name="T37" fmla="*/ 0 h 88"/>
              <a:gd name="T38" fmla="*/ 2147483647 w 283"/>
              <a:gd name="T39" fmla="*/ 0 h 88"/>
              <a:gd name="T40" fmla="*/ 2147483647 w 283"/>
              <a:gd name="T41" fmla="*/ 2147483647 h 88"/>
              <a:gd name="T42" fmla="*/ 2147483647 w 283"/>
              <a:gd name="T43" fmla="*/ 0 h 88"/>
              <a:gd name="T44" fmla="*/ 2147483647 w 283"/>
              <a:gd name="T45" fmla="*/ 0 h 88"/>
              <a:gd name="T46" fmla="*/ 2147483647 w 283"/>
              <a:gd name="T47" fmla="*/ 0 h 88"/>
              <a:gd name="T48" fmla="*/ 2147483647 w 283"/>
              <a:gd name="T49" fmla="*/ 2147483647 h 88"/>
              <a:gd name="T50" fmla="*/ 2147483647 w 283"/>
              <a:gd name="T51" fmla="*/ 0 h 88"/>
              <a:gd name="T52" fmla="*/ 2147483647 w 283"/>
              <a:gd name="T53" fmla="*/ 0 h 88"/>
              <a:gd name="T54" fmla="*/ 2147483647 w 283"/>
              <a:gd name="T55" fmla="*/ 2147483647 h 88"/>
              <a:gd name="T56" fmla="*/ 2147483647 w 283"/>
              <a:gd name="T57" fmla="*/ 2147483647 h 88"/>
              <a:gd name="T58" fmla="*/ 2147483647 w 283"/>
              <a:gd name="T59" fmla="*/ 0 h 88"/>
              <a:gd name="T60" fmla="*/ 2147483647 w 283"/>
              <a:gd name="T61" fmla="*/ 0 h 88"/>
              <a:gd name="T62" fmla="*/ 2147483647 w 283"/>
              <a:gd name="T63" fmla="*/ 0 h 88"/>
              <a:gd name="T64" fmla="*/ 2147483647 w 283"/>
              <a:gd name="T65" fmla="*/ 0 h 88"/>
              <a:gd name="T66" fmla="*/ 2147483647 w 283"/>
              <a:gd name="T67" fmla="*/ 2147483647 h 88"/>
              <a:gd name="T68" fmla="*/ 2147483647 w 283"/>
              <a:gd name="T69" fmla="*/ 2147483647 h 88"/>
              <a:gd name="T70" fmla="*/ 2147483647 w 283"/>
              <a:gd name="T71" fmla="*/ 2147483647 h 8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83"/>
              <a:gd name="T109" fmla="*/ 0 h 88"/>
              <a:gd name="T110" fmla="*/ 283 w 283"/>
              <a:gd name="T111" fmla="*/ 88 h 8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83" h="88">
                <a:moveTo>
                  <a:pt x="283" y="36"/>
                </a:moveTo>
                <a:lnTo>
                  <a:pt x="242" y="55"/>
                </a:lnTo>
                <a:lnTo>
                  <a:pt x="202" y="73"/>
                </a:lnTo>
                <a:lnTo>
                  <a:pt x="162" y="88"/>
                </a:lnTo>
                <a:lnTo>
                  <a:pt x="142" y="88"/>
                </a:lnTo>
                <a:lnTo>
                  <a:pt x="142" y="73"/>
                </a:lnTo>
                <a:lnTo>
                  <a:pt x="123" y="73"/>
                </a:lnTo>
                <a:lnTo>
                  <a:pt x="83" y="73"/>
                </a:lnTo>
                <a:lnTo>
                  <a:pt x="60" y="73"/>
                </a:lnTo>
                <a:lnTo>
                  <a:pt x="41" y="55"/>
                </a:lnTo>
                <a:lnTo>
                  <a:pt x="60" y="55"/>
                </a:lnTo>
                <a:lnTo>
                  <a:pt x="83" y="55"/>
                </a:lnTo>
                <a:lnTo>
                  <a:pt x="102" y="55"/>
                </a:lnTo>
                <a:lnTo>
                  <a:pt x="83" y="55"/>
                </a:lnTo>
                <a:lnTo>
                  <a:pt x="60" y="55"/>
                </a:lnTo>
                <a:lnTo>
                  <a:pt x="41" y="55"/>
                </a:lnTo>
                <a:lnTo>
                  <a:pt x="20" y="36"/>
                </a:lnTo>
                <a:lnTo>
                  <a:pt x="0" y="19"/>
                </a:lnTo>
                <a:lnTo>
                  <a:pt x="0" y="0"/>
                </a:lnTo>
                <a:lnTo>
                  <a:pt x="20" y="0"/>
                </a:lnTo>
                <a:lnTo>
                  <a:pt x="41" y="19"/>
                </a:lnTo>
                <a:lnTo>
                  <a:pt x="41" y="0"/>
                </a:lnTo>
                <a:lnTo>
                  <a:pt x="60" y="0"/>
                </a:lnTo>
                <a:lnTo>
                  <a:pt x="83" y="0"/>
                </a:lnTo>
                <a:lnTo>
                  <a:pt x="123" y="19"/>
                </a:lnTo>
                <a:lnTo>
                  <a:pt x="142" y="0"/>
                </a:lnTo>
                <a:lnTo>
                  <a:pt x="162" y="0"/>
                </a:lnTo>
                <a:lnTo>
                  <a:pt x="162" y="19"/>
                </a:lnTo>
                <a:lnTo>
                  <a:pt x="183" y="19"/>
                </a:lnTo>
                <a:lnTo>
                  <a:pt x="183" y="0"/>
                </a:lnTo>
                <a:lnTo>
                  <a:pt x="202" y="0"/>
                </a:lnTo>
                <a:lnTo>
                  <a:pt x="223" y="0"/>
                </a:lnTo>
                <a:lnTo>
                  <a:pt x="242" y="0"/>
                </a:lnTo>
                <a:lnTo>
                  <a:pt x="242" y="19"/>
                </a:lnTo>
                <a:lnTo>
                  <a:pt x="263" y="19"/>
                </a:lnTo>
                <a:lnTo>
                  <a:pt x="283" y="3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0" name="Freeform 84"/>
          <p:cNvSpPr>
            <a:spLocks/>
          </p:cNvSpPr>
          <p:nvPr/>
        </p:nvSpPr>
        <p:spPr bwMode="gray">
          <a:xfrm>
            <a:off x="3956050" y="2949575"/>
            <a:ext cx="98425" cy="92075"/>
          </a:xfrm>
          <a:custGeom>
            <a:avLst/>
            <a:gdLst>
              <a:gd name="T0" fmla="*/ 2147483647 w 141"/>
              <a:gd name="T1" fmla="*/ 2147483647 h 126"/>
              <a:gd name="T2" fmla="*/ 2147483647 w 141"/>
              <a:gd name="T3" fmla="*/ 2147483647 h 126"/>
              <a:gd name="T4" fmla="*/ 2147483647 w 141"/>
              <a:gd name="T5" fmla="*/ 2147483647 h 126"/>
              <a:gd name="T6" fmla="*/ 2147483647 w 141"/>
              <a:gd name="T7" fmla="*/ 0 h 126"/>
              <a:gd name="T8" fmla="*/ 2147483647 w 141"/>
              <a:gd name="T9" fmla="*/ 0 h 126"/>
              <a:gd name="T10" fmla="*/ 2147483647 w 141"/>
              <a:gd name="T11" fmla="*/ 0 h 126"/>
              <a:gd name="T12" fmla="*/ 2147483647 w 141"/>
              <a:gd name="T13" fmla="*/ 0 h 126"/>
              <a:gd name="T14" fmla="*/ 2147483647 w 141"/>
              <a:gd name="T15" fmla="*/ 0 h 126"/>
              <a:gd name="T16" fmla="*/ 2147483647 w 141"/>
              <a:gd name="T17" fmla="*/ 2147483647 h 126"/>
              <a:gd name="T18" fmla="*/ 2147483647 w 141"/>
              <a:gd name="T19" fmla="*/ 2147483647 h 126"/>
              <a:gd name="T20" fmla="*/ 2147483647 w 141"/>
              <a:gd name="T21" fmla="*/ 2147483647 h 126"/>
              <a:gd name="T22" fmla="*/ 2147483647 w 141"/>
              <a:gd name="T23" fmla="*/ 2147483647 h 126"/>
              <a:gd name="T24" fmla="*/ 2147483647 w 141"/>
              <a:gd name="T25" fmla="*/ 2147483647 h 126"/>
              <a:gd name="T26" fmla="*/ 2147483647 w 141"/>
              <a:gd name="T27" fmla="*/ 2147483647 h 126"/>
              <a:gd name="T28" fmla="*/ 2147483647 w 141"/>
              <a:gd name="T29" fmla="*/ 2147483647 h 126"/>
              <a:gd name="T30" fmla="*/ 2147483647 w 141"/>
              <a:gd name="T31" fmla="*/ 2147483647 h 126"/>
              <a:gd name="T32" fmla="*/ 2147483647 w 141"/>
              <a:gd name="T33" fmla="*/ 2147483647 h 126"/>
              <a:gd name="T34" fmla="*/ 2147483647 w 141"/>
              <a:gd name="T35" fmla="*/ 2147483647 h 126"/>
              <a:gd name="T36" fmla="*/ 2147483647 w 141"/>
              <a:gd name="T37" fmla="*/ 2147483647 h 126"/>
              <a:gd name="T38" fmla="*/ 0 w 141"/>
              <a:gd name="T39" fmla="*/ 2147483647 h 126"/>
              <a:gd name="T40" fmla="*/ 2147483647 w 141"/>
              <a:gd name="T41" fmla="*/ 2147483647 h 126"/>
              <a:gd name="T42" fmla="*/ 2147483647 w 141"/>
              <a:gd name="T43" fmla="*/ 2147483647 h 126"/>
              <a:gd name="T44" fmla="*/ 2147483647 w 141"/>
              <a:gd name="T45" fmla="*/ 2147483647 h 126"/>
              <a:gd name="T46" fmla="*/ 2147483647 w 141"/>
              <a:gd name="T47" fmla="*/ 2147483647 h 126"/>
              <a:gd name="T48" fmla="*/ 2147483647 w 141"/>
              <a:gd name="T49" fmla="*/ 2147483647 h 126"/>
              <a:gd name="T50" fmla="*/ 2147483647 w 141"/>
              <a:gd name="T51" fmla="*/ 2147483647 h 12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1"/>
              <a:gd name="T79" fmla="*/ 0 h 126"/>
              <a:gd name="T80" fmla="*/ 141 w 141"/>
              <a:gd name="T81" fmla="*/ 126 h 12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1" h="126">
                <a:moveTo>
                  <a:pt x="41" y="36"/>
                </a:moveTo>
                <a:lnTo>
                  <a:pt x="60" y="36"/>
                </a:lnTo>
                <a:lnTo>
                  <a:pt x="60" y="19"/>
                </a:lnTo>
                <a:lnTo>
                  <a:pt x="60" y="0"/>
                </a:lnTo>
                <a:lnTo>
                  <a:pt x="81" y="0"/>
                </a:lnTo>
                <a:lnTo>
                  <a:pt x="100" y="0"/>
                </a:lnTo>
                <a:lnTo>
                  <a:pt x="121" y="0"/>
                </a:lnTo>
                <a:lnTo>
                  <a:pt x="141" y="0"/>
                </a:lnTo>
                <a:lnTo>
                  <a:pt x="141" y="36"/>
                </a:lnTo>
                <a:lnTo>
                  <a:pt x="121" y="36"/>
                </a:lnTo>
                <a:lnTo>
                  <a:pt x="121" y="54"/>
                </a:lnTo>
                <a:lnTo>
                  <a:pt x="121" y="73"/>
                </a:lnTo>
                <a:lnTo>
                  <a:pt x="121" y="90"/>
                </a:lnTo>
                <a:lnTo>
                  <a:pt x="121" y="107"/>
                </a:lnTo>
                <a:lnTo>
                  <a:pt x="100" y="107"/>
                </a:lnTo>
                <a:lnTo>
                  <a:pt x="81" y="107"/>
                </a:lnTo>
                <a:lnTo>
                  <a:pt x="60" y="126"/>
                </a:lnTo>
                <a:lnTo>
                  <a:pt x="41" y="126"/>
                </a:lnTo>
                <a:lnTo>
                  <a:pt x="22" y="126"/>
                </a:lnTo>
                <a:lnTo>
                  <a:pt x="0" y="107"/>
                </a:lnTo>
                <a:lnTo>
                  <a:pt x="22" y="90"/>
                </a:lnTo>
                <a:lnTo>
                  <a:pt x="41" y="73"/>
                </a:lnTo>
                <a:lnTo>
                  <a:pt x="41" y="54"/>
                </a:lnTo>
                <a:lnTo>
                  <a:pt x="22" y="54"/>
                </a:lnTo>
                <a:lnTo>
                  <a:pt x="22" y="36"/>
                </a:lnTo>
                <a:lnTo>
                  <a:pt x="41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1" name="Freeform 85"/>
          <p:cNvSpPr>
            <a:spLocks/>
          </p:cNvSpPr>
          <p:nvPr/>
        </p:nvSpPr>
        <p:spPr bwMode="gray">
          <a:xfrm>
            <a:off x="4027488" y="2862263"/>
            <a:ext cx="14287" cy="0"/>
          </a:xfrm>
          <a:custGeom>
            <a:avLst/>
            <a:gdLst>
              <a:gd name="T0" fmla="*/ 2147483647 w 21"/>
              <a:gd name="T1" fmla="*/ 0 w 21"/>
              <a:gd name="T2" fmla="*/ 2147483647 w 21"/>
              <a:gd name="T3" fmla="*/ 0 60000 65536"/>
              <a:gd name="T4" fmla="*/ 0 60000 65536"/>
              <a:gd name="T5" fmla="*/ 0 60000 65536"/>
              <a:gd name="T6" fmla="*/ 0 w 21"/>
              <a:gd name="T7" fmla="*/ 21 w 21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21">
                <a:moveTo>
                  <a:pt x="21" y="0"/>
                </a:move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2" name="Freeform 86"/>
          <p:cNvSpPr>
            <a:spLocks/>
          </p:cNvSpPr>
          <p:nvPr/>
        </p:nvSpPr>
        <p:spPr bwMode="gray">
          <a:xfrm>
            <a:off x="4041775" y="2847975"/>
            <a:ext cx="179388" cy="234950"/>
          </a:xfrm>
          <a:custGeom>
            <a:avLst/>
            <a:gdLst>
              <a:gd name="T0" fmla="*/ 2147483647 w 260"/>
              <a:gd name="T1" fmla="*/ 2147483647 h 322"/>
              <a:gd name="T2" fmla="*/ 2147483647 w 260"/>
              <a:gd name="T3" fmla="*/ 2147483647 h 322"/>
              <a:gd name="T4" fmla="*/ 2147483647 w 260"/>
              <a:gd name="T5" fmla="*/ 2147483647 h 322"/>
              <a:gd name="T6" fmla="*/ 2147483647 w 260"/>
              <a:gd name="T7" fmla="*/ 2147483647 h 322"/>
              <a:gd name="T8" fmla="*/ 2147483647 w 260"/>
              <a:gd name="T9" fmla="*/ 2147483647 h 322"/>
              <a:gd name="T10" fmla="*/ 2147483647 w 260"/>
              <a:gd name="T11" fmla="*/ 2147483647 h 322"/>
              <a:gd name="T12" fmla="*/ 2147483647 w 260"/>
              <a:gd name="T13" fmla="*/ 2147483647 h 322"/>
              <a:gd name="T14" fmla="*/ 2147483647 w 260"/>
              <a:gd name="T15" fmla="*/ 2147483647 h 322"/>
              <a:gd name="T16" fmla="*/ 2147483647 w 260"/>
              <a:gd name="T17" fmla="*/ 2147483647 h 322"/>
              <a:gd name="T18" fmla="*/ 2147483647 w 260"/>
              <a:gd name="T19" fmla="*/ 2147483647 h 322"/>
              <a:gd name="T20" fmla="*/ 2147483647 w 260"/>
              <a:gd name="T21" fmla="*/ 2147483647 h 322"/>
              <a:gd name="T22" fmla="*/ 2147483647 w 260"/>
              <a:gd name="T23" fmla="*/ 2147483647 h 322"/>
              <a:gd name="T24" fmla="*/ 2147483647 w 260"/>
              <a:gd name="T25" fmla="*/ 2147483647 h 322"/>
              <a:gd name="T26" fmla="*/ 2147483647 w 260"/>
              <a:gd name="T27" fmla="*/ 2147483647 h 322"/>
              <a:gd name="T28" fmla="*/ 2147483647 w 260"/>
              <a:gd name="T29" fmla="*/ 2147483647 h 322"/>
              <a:gd name="T30" fmla="*/ 2147483647 w 260"/>
              <a:gd name="T31" fmla="*/ 2147483647 h 322"/>
              <a:gd name="T32" fmla="*/ 2147483647 w 260"/>
              <a:gd name="T33" fmla="*/ 2147483647 h 322"/>
              <a:gd name="T34" fmla="*/ 2147483647 w 260"/>
              <a:gd name="T35" fmla="*/ 2147483647 h 322"/>
              <a:gd name="T36" fmla="*/ 2147483647 w 260"/>
              <a:gd name="T37" fmla="*/ 2147483647 h 322"/>
              <a:gd name="T38" fmla="*/ 2147483647 w 260"/>
              <a:gd name="T39" fmla="*/ 2147483647 h 322"/>
              <a:gd name="T40" fmla="*/ 2147483647 w 260"/>
              <a:gd name="T41" fmla="*/ 2147483647 h 322"/>
              <a:gd name="T42" fmla="*/ 2147483647 w 260"/>
              <a:gd name="T43" fmla="*/ 2147483647 h 322"/>
              <a:gd name="T44" fmla="*/ 2147483647 w 260"/>
              <a:gd name="T45" fmla="*/ 2147483647 h 322"/>
              <a:gd name="T46" fmla="*/ 2147483647 w 260"/>
              <a:gd name="T47" fmla="*/ 2147483647 h 322"/>
              <a:gd name="T48" fmla="*/ 2147483647 w 260"/>
              <a:gd name="T49" fmla="*/ 2147483647 h 322"/>
              <a:gd name="T50" fmla="*/ 2147483647 w 260"/>
              <a:gd name="T51" fmla="*/ 2147483647 h 322"/>
              <a:gd name="T52" fmla="*/ 2147483647 w 260"/>
              <a:gd name="T53" fmla="*/ 2147483647 h 322"/>
              <a:gd name="T54" fmla="*/ 2147483647 w 260"/>
              <a:gd name="T55" fmla="*/ 2147483647 h 322"/>
              <a:gd name="T56" fmla="*/ 0 w 260"/>
              <a:gd name="T57" fmla="*/ 2147483647 h 322"/>
              <a:gd name="T58" fmla="*/ 2147483647 w 260"/>
              <a:gd name="T59" fmla="*/ 2147483647 h 322"/>
              <a:gd name="T60" fmla="*/ 2147483647 w 260"/>
              <a:gd name="T61" fmla="*/ 2147483647 h 322"/>
              <a:gd name="T62" fmla="*/ 2147483647 w 260"/>
              <a:gd name="T63" fmla="*/ 0 h 322"/>
              <a:gd name="T64" fmla="*/ 2147483647 w 260"/>
              <a:gd name="T65" fmla="*/ 0 h 322"/>
              <a:gd name="T66" fmla="*/ 2147483647 w 260"/>
              <a:gd name="T67" fmla="*/ 2147483647 h 322"/>
              <a:gd name="T68" fmla="*/ 2147483647 w 260"/>
              <a:gd name="T69" fmla="*/ 2147483647 h 322"/>
              <a:gd name="T70" fmla="*/ 2147483647 w 260"/>
              <a:gd name="T71" fmla="*/ 2147483647 h 322"/>
              <a:gd name="T72" fmla="*/ 2147483647 w 260"/>
              <a:gd name="T73" fmla="*/ 2147483647 h 322"/>
              <a:gd name="T74" fmla="*/ 2147483647 w 260"/>
              <a:gd name="T75" fmla="*/ 2147483647 h 322"/>
              <a:gd name="T76" fmla="*/ 2147483647 w 260"/>
              <a:gd name="T77" fmla="*/ 2147483647 h 322"/>
              <a:gd name="T78" fmla="*/ 2147483647 w 260"/>
              <a:gd name="T79" fmla="*/ 2147483647 h 322"/>
              <a:gd name="T80" fmla="*/ 2147483647 w 260"/>
              <a:gd name="T81" fmla="*/ 2147483647 h 322"/>
              <a:gd name="T82" fmla="*/ 2147483647 w 260"/>
              <a:gd name="T83" fmla="*/ 2147483647 h 322"/>
              <a:gd name="T84" fmla="*/ 2147483647 w 260"/>
              <a:gd name="T85" fmla="*/ 2147483647 h 322"/>
              <a:gd name="T86" fmla="*/ 2147483647 w 260"/>
              <a:gd name="T87" fmla="*/ 2147483647 h 32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0"/>
              <a:gd name="T133" fmla="*/ 0 h 322"/>
              <a:gd name="T134" fmla="*/ 260 w 260"/>
              <a:gd name="T135" fmla="*/ 322 h 32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0" h="322">
                <a:moveTo>
                  <a:pt x="219" y="232"/>
                </a:moveTo>
                <a:lnTo>
                  <a:pt x="219" y="215"/>
                </a:lnTo>
                <a:lnTo>
                  <a:pt x="240" y="215"/>
                </a:lnTo>
                <a:lnTo>
                  <a:pt x="260" y="232"/>
                </a:lnTo>
                <a:lnTo>
                  <a:pt x="260" y="249"/>
                </a:lnTo>
                <a:lnTo>
                  <a:pt x="240" y="268"/>
                </a:lnTo>
                <a:lnTo>
                  <a:pt x="219" y="268"/>
                </a:lnTo>
                <a:lnTo>
                  <a:pt x="240" y="286"/>
                </a:lnTo>
                <a:lnTo>
                  <a:pt x="240" y="305"/>
                </a:lnTo>
                <a:lnTo>
                  <a:pt x="219" y="305"/>
                </a:lnTo>
                <a:lnTo>
                  <a:pt x="200" y="305"/>
                </a:lnTo>
                <a:lnTo>
                  <a:pt x="179" y="305"/>
                </a:lnTo>
                <a:lnTo>
                  <a:pt x="141" y="305"/>
                </a:lnTo>
                <a:lnTo>
                  <a:pt x="141" y="322"/>
                </a:lnTo>
                <a:lnTo>
                  <a:pt x="119" y="322"/>
                </a:lnTo>
                <a:lnTo>
                  <a:pt x="100" y="322"/>
                </a:lnTo>
                <a:lnTo>
                  <a:pt x="79" y="322"/>
                </a:lnTo>
                <a:lnTo>
                  <a:pt x="60" y="322"/>
                </a:lnTo>
                <a:lnTo>
                  <a:pt x="39" y="322"/>
                </a:lnTo>
                <a:lnTo>
                  <a:pt x="60" y="322"/>
                </a:lnTo>
                <a:lnTo>
                  <a:pt x="79" y="305"/>
                </a:lnTo>
                <a:lnTo>
                  <a:pt x="79" y="286"/>
                </a:lnTo>
                <a:lnTo>
                  <a:pt x="100" y="286"/>
                </a:lnTo>
                <a:lnTo>
                  <a:pt x="119" y="268"/>
                </a:lnTo>
                <a:lnTo>
                  <a:pt x="100" y="268"/>
                </a:lnTo>
                <a:lnTo>
                  <a:pt x="79" y="286"/>
                </a:lnTo>
                <a:lnTo>
                  <a:pt x="79" y="268"/>
                </a:lnTo>
                <a:lnTo>
                  <a:pt x="60" y="268"/>
                </a:lnTo>
                <a:lnTo>
                  <a:pt x="39" y="268"/>
                </a:lnTo>
                <a:lnTo>
                  <a:pt x="60" y="249"/>
                </a:lnTo>
                <a:lnTo>
                  <a:pt x="79" y="249"/>
                </a:lnTo>
                <a:lnTo>
                  <a:pt x="79" y="232"/>
                </a:lnTo>
                <a:lnTo>
                  <a:pt x="79" y="215"/>
                </a:lnTo>
                <a:lnTo>
                  <a:pt x="79" y="196"/>
                </a:lnTo>
                <a:lnTo>
                  <a:pt x="100" y="196"/>
                </a:lnTo>
                <a:lnTo>
                  <a:pt x="119" y="196"/>
                </a:lnTo>
                <a:lnTo>
                  <a:pt x="119" y="178"/>
                </a:lnTo>
                <a:lnTo>
                  <a:pt x="100" y="178"/>
                </a:lnTo>
                <a:lnTo>
                  <a:pt x="79" y="161"/>
                </a:lnTo>
                <a:lnTo>
                  <a:pt x="100" y="161"/>
                </a:lnTo>
                <a:lnTo>
                  <a:pt x="100" y="142"/>
                </a:lnTo>
                <a:lnTo>
                  <a:pt x="79" y="142"/>
                </a:lnTo>
                <a:lnTo>
                  <a:pt x="79" y="161"/>
                </a:lnTo>
                <a:lnTo>
                  <a:pt x="60" y="161"/>
                </a:lnTo>
                <a:lnTo>
                  <a:pt x="60" y="142"/>
                </a:lnTo>
                <a:lnTo>
                  <a:pt x="39" y="142"/>
                </a:lnTo>
                <a:lnTo>
                  <a:pt x="60" y="142"/>
                </a:lnTo>
                <a:lnTo>
                  <a:pt x="60" y="125"/>
                </a:lnTo>
                <a:lnTo>
                  <a:pt x="60" y="105"/>
                </a:lnTo>
                <a:lnTo>
                  <a:pt x="39" y="105"/>
                </a:lnTo>
                <a:lnTo>
                  <a:pt x="39" y="125"/>
                </a:lnTo>
                <a:lnTo>
                  <a:pt x="20" y="125"/>
                </a:lnTo>
                <a:lnTo>
                  <a:pt x="20" y="105"/>
                </a:lnTo>
                <a:lnTo>
                  <a:pt x="20" y="88"/>
                </a:lnTo>
                <a:lnTo>
                  <a:pt x="39" y="88"/>
                </a:lnTo>
                <a:lnTo>
                  <a:pt x="20" y="71"/>
                </a:lnTo>
                <a:lnTo>
                  <a:pt x="0" y="52"/>
                </a:lnTo>
                <a:lnTo>
                  <a:pt x="0" y="36"/>
                </a:lnTo>
                <a:lnTo>
                  <a:pt x="20" y="36"/>
                </a:lnTo>
                <a:lnTo>
                  <a:pt x="20" y="52"/>
                </a:lnTo>
                <a:lnTo>
                  <a:pt x="20" y="36"/>
                </a:lnTo>
                <a:lnTo>
                  <a:pt x="20" y="19"/>
                </a:lnTo>
                <a:lnTo>
                  <a:pt x="39" y="19"/>
                </a:lnTo>
                <a:lnTo>
                  <a:pt x="60" y="0"/>
                </a:lnTo>
                <a:lnTo>
                  <a:pt x="79" y="0"/>
                </a:lnTo>
                <a:lnTo>
                  <a:pt x="100" y="0"/>
                </a:lnTo>
                <a:lnTo>
                  <a:pt x="100" y="19"/>
                </a:lnTo>
                <a:lnTo>
                  <a:pt x="79" y="19"/>
                </a:lnTo>
                <a:lnTo>
                  <a:pt x="79" y="36"/>
                </a:lnTo>
                <a:lnTo>
                  <a:pt x="100" y="36"/>
                </a:lnTo>
                <a:lnTo>
                  <a:pt x="141" y="36"/>
                </a:lnTo>
                <a:lnTo>
                  <a:pt x="141" y="71"/>
                </a:lnTo>
                <a:lnTo>
                  <a:pt x="119" y="71"/>
                </a:lnTo>
                <a:lnTo>
                  <a:pt x="119" y="88"/>
                </a:lnTo>
                <a:lnTo>
                  <a:pt x="100" y="105"/>
                </a:lnTo>
                <a:lnTo>
                  <a:pt x="119" y="105"/>
                </a:lnTo>
                <a:lnTo>
                  <a:pt x="141" y="105"/>
                </a:lnTo>
                <a:lnTo>
                  <a:pt x="141" y="125"/>
                </a:lnTo>
                <a:lnTo>
                  <a:pt x="141" y="142"/>
                </a:lnTo>
                <a:lnTo>
                  <a:pt x="160" y="142"/>
                </a:lnTo>
                <a:lnTo>
                  <a:pt x="179" y="161"/>
                </a:lnTo>
                <a:lnTo>
                  <a:pt x="200" y="178"/>
                </a:lnTo>
                <a:lnTo>
                  <a:pt x="200" y="196"/>
                </a:lnTo>
                <a:lnTo>
                  <a:pt x="219" y="215"/>
                </a:lnTo>
                <a:lnTo>
                  <a:pt x="200" y="215"/>
                </a:lnTo>
                <a:lnTo>
                  <a:pt x="200" y="232"/>
                </a:lnTo>
                <a:lnTo>
                  <a:pt x="219" y="232"/>
                </a:lnTo>
                <a:lnTo>
                  <a:pt x="219" y="215"/>
                </a:lnTo>
                <a:lnTo>
                  <a:pt x="219" y="232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3" name="Freeform 87"/>
          <p:cNvSpPr>
            <a:spLocks/>
          </p:cNvSpPr>
          <p:nvPr/>
        </p:nvSpPr>
        <p:spPr bwMode="gray">
          <a:xfrm>
            <a:off x="3676650" y="2616200"/>
            <a:ext cx="211138" cy="77788"/>
          </a:xfrm>
          <a:custGeom>
            <a:avLst/>
            <a:gdLst>
              <a:gd name="T0" fmla="*/ 2147483647 w 300"/>
              <a:gd name="T1" fmla="*/ 2147483647 h 108"/>
              <a:gd name="T2" fmla="*/ 2147483647 w 300"/>
              <a:gd name="T3" fmla="*/ 2147483647 h 108"/>
              <a:gd name="T4" fmla="*/ 2147483647 w 300"/>
              <a:gd name="T5" fmla="*/ 2147483647 h 108"/>
              <a:gd name="T6" fmla="*/ 2147483647 w 300"/>
              <a:gd name="T7" fmla="*/ 2147483647 h 108"/>
              <a:gd name="T8" fmla="*/ 2147483647 w 300"/>
              <a:gd name="T9" fmla="*/ 2147483647 h 108"/>
              <a:gd name="T10" fmla="*/ 2147483647 w 300"/>
              <a:gd name="T11" fmla="*/ 2147483647 h 108"/>
              <a:gd name="T12" fmla="*/ 2147483647 w 300"/>
              <a:gd name="T13" fmla="*/ 2147483647 h 108"/>
              <a:gd name="T14" fmla="*/ 2147483647 w 300"/>
              <a:gd name="T15" fmla="*/ 2147483647 h 108"/>
              <a:gd name="T16" fmla="*/ 2147483647 w 300"/>
              <a:gd name="T17" fmla="*/ 2147483647 h 108"/>
              <a:gd name="T18" fmla="*/ 2147483647 w 300"/>
              <a:gd name="T19" fmla="*/ 2147483647 h 108"/>
              <a:gd name="T20" fmla="*/ 2147483647 w 300"/>
              <a:gd name="T21" fmla="*/ 2147483647 h 108"/>
              <a:gd name="T22" fmla="*/ 2147483647 w 300"/>
              <a:gd name="T23" fmla="*/ 2147483647 h 108"/>
              <a:gd name="T24" fmla="*/ 2147483647 w 300"/>
              <a:gd name="T25" fmla="*/ 2147483647 h 108"/>
              <a:gd name="T26" fmla="*/ 2147483647 w 300"/>
              <a:gd name="T27" fmla="*/ 2147483647 h 108"/>
              <a:gd name="T28" fmla="*/ 2147483647 w 300"/>
              <a:gd name="T29" fmla="*/ 2147483647 h 108"/>
              <a:gd name="T30" fmla="*/ 0 w 300"/>
              <a:gd name="T31" fmla="*/ 2147483647 h 108"/>
              <a:gd name="T32" fmla="*/ 2147483647 w 300"/>
              <a:gd name="T33" fmla="*/ 2147483647 h 108"/>
              <a:gd name="T34" fmla="*/ 2147483647 w 300"/>
              <a:gd name="T35" fmla="*/ 2147483647 h 108"/>
              <a:gd name="T36" fmla="*/ 2147483647 w 300"/>
              <a:gd name="T37" fmla="*/ 2147483647 h 108"/>
              <a:gd name="T38" fmla="*/ 2147483647 w 300"/>
              <a:gd name="T39" fmla="*/ 2147483647 h 108"/>
              <a:gd name="T40" fmla="*/ 0 w 300"/>
              <a:gd name="T41" fmla="*/ 2147483647 h 108"/>
              <a:gd name="T42" fmla="*/ 0 w 300"/>
              <a:gd name="T43" fmla="*/ 0 h 108"/>
              <a:gd name="T44" fmla="*/ 0 w 300"/>
              <a:gd name="T45" fmla="*/ 2147483647 h 108"/>
              <a:gd name="T46" fmla="*/ 0 w 300"/>
              <a:gd name="T47" fmla="*/ 0 h 108"/>
              <a:gd name="T48" fmla="*/ 2147483647 w 300"/>
              <a:gd name="T49" fmla="*/ 0 h 108"/>
              <a:gd name="T50" fmla="*/ 2147483647 w 300"/>
              <a:gd name="T51" fmla="*/ 0 h 108"/>
              <a:gd name="T52" fmla="*/ 2147483647 w 300"/>
              <a:gd name="T53" fmla="*/ 2147483647 h 108"/>
              <a:gd name="T54" fmla="*/ 2147483647 w 300"/>
              <a:gd name="T55" fmla="*/ 2147483647 h 108"/>
              <a:gd name="T56" fmla="*/ 2147483647 w 300"/>
              <a:gd name="T57" fmla="*/ 2147483647 h 108"/>
              <a:gd name="T58" fmla="*/ 2147483647 w 300"/>
              <a:gd name="T59" fmla="*/ 2147483647 h 108"/>
              <a:gd name="T60" fmla="*/ 2147483647 w 300"/>
              <a:gd name="T61" fmla="*/ 0 h 108"/>
              <a:gd name="T62" fmla="*/ 2147483647 w 300"/>
              <a:gd name="T63" fmla="*/ 2147483647 h 108"/>
              <a:gd name="T64" fmla="*/ 2147483647 w 300"/>
              <a:gd name="T65" fmla="*/ 2147483647 h 108"/>
              <a:gd name="T66" fmla="*/ 2147483647 w 300"/>
              <a:gd name="T67" fmla="*/ 2147483647 h 108"/>
              <a:gd name="T68" fmla="*/ 2147483647 w 300"/>
              <a:gd name="T69" fmla="*/ 0 h 108"/>
              <a:gd name="T70" fmla="*/ 2147483647 w 300"/>
              <a:gd name="T71" fmla="*/ 0 h 108"/>
              <a:gd name="T72" fmla="*/ 2147483647 w 300"/>
              <a:gd name="T73" fmla="*/ 0 h 108"/>
              <a:gd name="T74" fmla="*/ 2147483647 w 300"/>
              <a:gd name="T75" fmla="*/ 2147483647 h 108"/>
              <a:gd name="T76" fmla="*/ 2147483647 w 300"/>
              <a:gd name="T77" fmla="*/ 0 h 108"/>
              <a:gd name="T78" fmla="*/ 2147483647 w 300"/>
              <a:gd name="T79" fmla="*/ 0 h 108"/>
              <a:gd name="T80" fmla="*/ 2147483647 w 300"/>
              <a:gd name="T81" fmla="*/ 0 h 108"/>
              <a:gd name="T82" fmla="*/ 2147483647 w 300"/>
              <a:gd name="T83" fmla="*/ 0 h 108"/>
              <a:gd name="T84" fmla="*/ 2147483647 w 300"/>
              <a:gd name="T85" fmla="*/ 0 h 108"/>
              <a:gd name="T86" fmla="*/ 2147483647 w 300"/>
              <a:gd name="T87" fmla="*/ 2147483647 h 108"/>
              <a:gd name="T88" fmla="*/ 2147483647 w 300"/>
              <a:gd name="T89" fmla="*/ 2147483647 h 10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00"/>
              <a:gd name="T136" fmla="*/ 0 h 108"/>
              <a:gd name="T137" fmla="*/ 300 w 300"/>
              <a:gd name="T138" fmla="*/ 108 h 10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00" h="108">
                <a:moveTo>
                  <a:pt x="300" y="54"/>
                </a:moveTo>
                <a:lnTo>
                  <a:pt x="281" y="54"/>
                </a:lnTo>
                <a:lnTo>
                  <a:pt x="259" y="71"/>
                </a:lnTo>
                <a:lnTo>
                  <a:pt x="259" y="89"/>
                </a:lnTo>
                <a:lnTo>
                  <a:pt x="219" y="89"/>
                </a:lnTo>
                <a:lnTo>
                  <a:pt x="200" y="108"/>
                </a:lnTo>
                <a:lnTo>
                  <a:pt x="160" y="108"/>
                </a:lnTo>
                <a:lnTo>
                  <a:pt x="119" y="108"/>
                </a:lnTo>
                <a:lnTo>
                  <a:pt x="100" y="108"/>
                </a:lnTo>
                <a:lnTo>
                  <a:pt x="60" y="89"/>
                </a:lnTo>
                <a:lnTo>
                  <a:pt x="41" y="71"/>
                </a:lnTo>
                <a:lnTo>
                  <a:pt x="19" y="71"/>
                </a:lnTo>
                <a:lnTo>
                  <a:pt x="41" y="71"/>
                </a:lnTo>
                <a:lnTo>
                  <a:pt x="41" y="54"/>
                </a:lnTo>
                <a:lnTo>
                  <a:pt x="19" y="54"/>
                </a:lnTo>
                <a:lnTo>
                  <a:pt x="0" y="54"/>
                </a:lnTo>
                <a:lnTo>
                  <a:pt x="41" y="54"/>
                </a:lnTo>
                <a:lnTo>
                  <a:pt x="60" y="35"/>
                </a:lnTo>
                <a:lnTo>
                  <a:pt x="41" y="35"/>
                </a:lnTo>
                <a:lnTo>
                  <a:pt x="19" y="35"/>
                </a:lnTo>
                <a:lnTo>
                  <a:pt x="0" y="18"/>
                </a:lnTo>
                <a:lnTo>
                  <a:pt x="0" y="0"/>
                </a:lnTo>
                <a:lnTo>
                  <a:pt x="0" y="18"/>
                </a:lnTo>
                <a:lnTo>
                  <a:pt x="0" y="0"/>
                </a:lnTo>
                <a:lnTo>
                  <a:pt x="19" y="0"/>
                </a:lnTo>
                <a:lnTo>
                  <a:pt x="41" y="0"/>
                </a:lnTo>
                <a:lnTo>
                  <a:pt x="60" y="18"/>
                </a:lnTo>
                <a:lnTo>
                  <a:pt x="60" y="35"/>
                </a:lnTo>
                <a:lnTo>
                  <a:pt x="60" y="18"/>
                </a:lnTo>
                <a:lnTo>
                  <a:pt x="79" y="18"/>
                </a:lnTo>
                <a:lnTo>
                  <a:pt x="79" y="0"/>
                </a:lnTo>
                <a:lnTo>
                  <a:pt x="79" y="18"/>
                </a:lnTo>
                <a:lnTo>
                  <a:pt x="100" y="18"/>
                </a:lnTo>
                <a:lnTo>
                  <a:pt x="119" y="18"/>
                </a:lnTo>
                <a:lnTo>
                  <a:pt x="119" y="0"/>
                </a:lnTo>
                <a:lnTo>
                  <a:pt x="140" y="0"/>
                </a:lnTo>
                <a:lnTo>
                  <a:pt x="160" y="0"/>
                </a:lnTo>
                <a:lnTo>
                  <a:pt x="179" y="18"/>
                </a:lnTo>
                <a:lnTo>
                  <a:pt x="179" y="0"/>
                </a:lnTo>
                <a:lnTo>
                  <a:pt x="200" y="0"/>
                </a:lnTo>
                <a:lnTo>
                  <a:pt x="219" y="0"/>
                </a:lnTo>
                <a:lnTo>
                  <a:pt x="240" y="0"/>
                </a:lnTo>
                <a:lnTo>
                  <a:pt x="259" y="0"/>
                </a:lnTo>
                <a:lnTo>
                  <a:pt x="259" y="35"/>
                </a:lnTo>
                <a:lnTo>
                  <a:pt x="300" y="5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4" name="Freeform 88"/>
          <p:cNvSpPr>
            <a:spLocks/>
          </p:cNvSpPr>
          <p:nvPr/>
        </p:nvSpPr>
        <p:spPr bwMode="gray">
          <a:xfrm>
            <a:off x="3760788" y="2282825"/>
            <a:ext cx="52387" cy="25400"/>
          </a:xfrm>
          <a:custGeom>
            <a:avLst/>
            <a:gdLst>
              <a:gd name="T0" fmla="*/ 2147483647 w 81"/>
              <a:gd name="T1" fmla="*/ 2147483647 h 36"/>
              <a:gd name="T2" fmla="*/ 2147483647 w 81"/>
              <a:gd name="T3" fmla="*/ 2147483647 h 36"/>
              <a:gd name="T4" fmla="*/ 0 w 81"/>
              <a:gd name="T5" fmla="*/ 2147483647 h 36"/>
              <a:gd name="T6" fmla="*/ 2147483647 w 81"/>
              <a:gd name="T7" fmla="*/ 2147483647 h 36"/>
              <a:gd name="T8" fmla="*/ 2147483647 w 81"/>
              <a:gd name="T9" fmla="*/ 0 h 36"/>
              <a:gd name="T10" fmla="*/ 2147483647 w 81"/>
              <a:gd name="T11" fmla="*/ 0 h 36"/>
              <a:gd name="T12" fmla="*/ 2147483647 w 81"/>
              <a:gd name="T13" fmla="*/ 2147483647 h 36"/>
              <a:gd name="T14" fmla="*/ 2147483647 w 81"/>
              <a:gd name="T15" fmla="*/ 2147483647 h 36"/>
              <a:gd name="T16" fmla="*/ 2147483647 w 81"/>
              <a:gd name="T17" fmla="*/ 2147483647 h 36"/>
              <a:gd name="T18" fmla="*/ 2147483647 w 81"/>
              <a:gd name="T19" fmla="*/ 2147483647 h 36"/>
              <a:gd name="T20" fmla="*/ 2147483647 w 81"/>
              <a:gd name="T21" fmla="*/ 2147483647 h 36"/>
              <a:gd name="T22" fmla="*/ 2147483647 w 81"/>
              <a:gd name="T23" fmla="*/ 2147483647 h 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1"/>
              <a:gd name="T37" fmla="*/ 0 h 36"/>
              <a:gd name="T38" fmla="*/ 81 w 81"/>
              <a:gd name="T39" fmla="*/ 36 h 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1" h="36">
                <a:moveTo>
                  <a:pt x="21" y="36"/>
                </a:moveTo>
                <a:lnTo>
                  <a:pt x="21" y="17"/>
                </a:lnTo>
                <a:lnTo>
                  <a:pt x="0" y="17"/>
                </a:lnTo>
                <a:lnTo>
                  <a:pt x="21" y="17"/>
                </a:lnTo>
                <a:lnTo>
                  <a:pt x="21" y="0"/>
                </a:lnTo>
                <a:lnTo>
                  <a:pt x="41" y="0"/>
                </a:lnTo>
                <a:lnTo>
                  <a:pt x="41" y="17"/>
                </a:lnTo>
                <a:lnTo>
                  <a:pt x="60" y="17"/>
                </a:lnTo>
                <a:lnTo>
                  <a:pt x="81" y="17"/>
                </a:lnTo>
                <a:lnTo>
                  <a:pt x="60" y="17"/>
                </a:lnTo>
                <a:lnTo>
                  <a:pt x="41" y="36"/>
                </a:lnTo>
                <a:lnTo>
                  <a:pt x="21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5" name="Freeform 89"/>
          <p:cNvSpPr>
            <a:spLocks/>
          </p:cNvSpPr>
          <p:nvPr/>
        </p:nvSpPr>
        <p:spPr bwMode="gray">
          <a:xfrm>
            <a:off x="4449763" y="3378200"/>
            <a:ext cx="68262" cy="38100"/>
          </a:xfrm>
          <a:custGeom>
            <a:avLst/>
            <a:gdLst>
              <a:gd name="T0" fmla="*/ 0 w 100"/>
              <a:gd name="T1" fmla="*/ 0 h 54"/>
              <a:gd name="T2" fmla="*/ 0 w 100"/>
              <a:gd name="T3" fmla="*/ 2147483647 h 54"/>
              <a:gd name="T4" fmla="*/ 2147483647 w 100"/>
              <a:gd name="T5" fmla="*/ 2147483647 h 54"/>
              <a:gd name="T6" fmla="*/ 2147483647 w 100"/>
              <a:gd name="T7" fmla="*/ 2147483647 h 54"/>
              <a:gd name="T8" fmla="*/ 2147483647 w 100"/>
              <a:gd name="T9" fmla="*/ 2147483647 h 54"/>
              <a:gd name="T10" fmla="*/ 2147483647 w 100"/>
              <a:gd name="T11" fmla="*/ 2147483647 h 54"/>
              <a:gd name="T12" fmla="*/ 2147483647 w 100"/>
              <a:gd name="T13" fmla="*/ 2147483647 h 54"/>
              <a:gd name="T14" fmla="*/ 2147483647 w 100"/>
              <a:gd name="T15" fmla="*/ 2147483647 h 54"/>
              <a:gd name="T16" fmla="*/ 2147483647 w 100"/>
              <a:gd name="T17" fmla="*/ 2147483647 h 54"/>
              <a:gd name="T18" fmla="*/ 2147483647 w 100"/>
              <a:gd name="T19" fmla="*/ 2147483647 h 54"/>
              <a:gd name="T20" fmla="*/ 2147483647 w 100"/>
              <a:gd name="T21" fmla="*/ 2147483647 h 54"/>
              <a:gd name="T22" fmla="*/ 2147483647 w 100"/>
              <a:gd name="T23" fmla="*/ 0 h 54"/>
              <a:gd name="T24" fmla="*/ 2147483647 w 100"/>
              <a:gd name="T25" fmla="*/ 0 h 54"/>
              <a:gd name="T26" fmla="*/ 2147483647 w 100"/>
              <a:gd name="T27" fmla="*/ 0 h 54"/>
              <a:gd name="T28" fmla="*/ 2147483647 w 100"/>
              <a:gd name="T29" fmla="*/ 0 h 54"/>
              <a:gd name="T30" fmla="*/ 2147483647 w 100"/>
              <a:gd name="T31" fmla="*/ 0 h 54"/>
              <a:gd name="T32" fmla="*/ 0 w 100"/>
              <a:gd name="T33" fmla="*/ 0 h 5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54"/>
              <a:gd name="T53" fmla="*/ 100 w 100"/>
              <a:gd name="T54" fmla="*/ 54 h 5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54">
                <a:moveTo>
                  <a:pt x="0" y="0"/>
                </a:moveTo>
                <a:lnTo>
                  <a:pt x="0" y="17"/>
                </a:lnTo>
                <a:lnTo>
                  <a:pt x="19" y="17"/>
                </a:lnTo>
                <a:lnTo>
                  <a:pt x="40" y="34"/>
                </a:lnTo>
                <a:lnTo>
                  <a:pt x="60" y="34"/>
                </a:lnTo>
                <a:lnTo>
                  <a:pt x="79" y="54"/>
                </a:lnTo>
                <a:lnTo>
                  <a:pt x="100" y="54"/>
                </a:lnTo>
                <a:lnTo>
                  <a:pt x="100" y="34"/>
                </a:lnTo>
                <a:lnTo>
                  <a:pt x="79" y="34"/>
                </a:lnTo>
                <a:lnTo>
                  <a:pt x="79" y="17"/>
                </a:lnTo>
                <a:lnTo>
                  <a:pt x="100" y="17"/>
                </a:lnTo>
                <a:lnTo>
                  <a:pt x="100" y="0"/>
                </a:lnTo>
                <a:lnTo>
                  <a:pt x="79" y="0"/>
                </a:lnTo>
                <a:lnTo>
                  <a:pt x="60" y="0"/>
                </a:lnTo>
                <a:lnTo>
                  <a:pt x="40" y="0"/>
                </a:lnTo>
                <a:lnTo>
                  <a:pt x="19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6" name="Freeform 90"/>
          <p:cNvSpPr>
            <a:spLocks/>
          </p:cNvSpPr>
          <p:nvPr/>
        </p:nvSpPr>
        <p:spPr bwMode="gray">
          <a:xfrm>
            <a:off x="4378325" y="3259138"/>
            <a:ext cx="14288" cy="39687"/>
          </a:xfrm>
          <a:custGeom>
            <a:avLst/>
            <a:gdLst>
              <a:gd name="T0" fmla="*/ 0 w 19"/>
              <a:gd name="T1" fmla="*/ 2147483647 h 53"/>
              <a:gd name="T2" fmla="*/ 0 w 19"/>
              <a:gd name="T3" fmla="*/ 0 h 53"/>
              <a:gd name="T4" fmla="*/ 0 w 19"/>
              <a:gd name="T5" fmla="*/ 2147483647 h 53"/>
              <a:gd name="T6" fmla="*/ 2147483647 w 19"/>
              <a:gd name="T7" fmla="*/ 2147483647 h 53"/>
              <a:gd name="T8" fmla="*/ 0 w 19"/>
              <a:gd name="T9" fmla="*/ 2147483647 h 53"/>
              <a:gd name="T10" fmla="*/ 0 w 19"/>
              <a:gd name="T11" fmla="*/ 2147483647 h 53"/>
              <a:gd name="T12" fmla="*/ 0 w 19"/>
              <a:gd name="T13" fmla="*/ 2147483647 h 53"/>
              <a:gd name="T14" fmla="*/ 0 w 19"/>
              <a:gd name="T15" fmla="*/ 2147483647 h 5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9"/>
              <a:gd name="T25" fmla="*/ 0 h 53"/>
              <a:gd name="T26" fmla="*/ 19 w 19"/>
              <a:gd name="T27" fmla="*/ 53 h 5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9" h="53">
                <a:moveTo>
                  <a:pt x="0" y="17"/>
                </a:moveTo>
                <a:lnTo>
                  <a:pt x="0" y="0"/>
                </a:lnTo>
                <a:lnTo>
                  <a:pt x="0" y="17"/>
                </a:lnTo>
                <a:lnTo>
                  <a:pt x="19" y="17"/>
                </a:lnTo>
                <a:lnTo>
                  <a:pt x="0" y="36"/>
                </a:lnTo>
                <a:lnTo>
                  <a:pt x="0" y="53"/>
                </a:lnTo>
                <a:lnTo>
                  <a:pt x="0" y="36"/>
                </a:lnTo>
                <a:lnTo>
                  <a:pt x="0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7" name="Freeform 91"/>
          <p:cNvSpPr>
            <a:spLocks/>
          </p:cNvSpPr>
          <p:nvPr/>
        </p:nvSpPr>
        <p:spPr bwMode="gray">
          <a:xfrm>
            <a:off x="4362450" y="3313113"/>
            <a:ext cx="30163" cy="50800"/>
          </a:xfrm>
          <a:custGeom>
            <a:avLst/>
            <a:gdLst>
              <a:gd name="T0" fmla="*/ 2147483647 w 40"/>
              <a:gd name="T1" fmla="*/ 2147483647 h 71"/>
              <a:gd name="T2" fmla="*/ 0 w 40"/>
              <a:gd name="T3" fmla="*/ 2147483647 h 71"/>
              <a:gd name="T4" fmla="*/ 0 w 40"/>
              <a:gd name="T5" fmla="*/ 0 h 71"/>
              <a:gd name="T6" fmla="*/ 2147483647 w 40"/>
              <a:gd name="T7" fmla="*/ 0 h 71"/>
              <a:gd name="T8" fmla="*/ 2147483647 w 40"/>
              <a:gd name="T9" fmla="*/ 0 h 71"/>
              <a:gd name="T10" fmla="*/ 2147483647 w 40"/>
              <a:gd name="T11" fmla="*/ 2147483647 h 71"/>
              <a:gd name="T12" fmla="*/ 2147483647 w 40"/>
              <a:gd name="T13" fmla="*/ 2147483647 h 71"/>
              <a:gd name="T14" fmla="*/ 2147483647 w 40"/>
              <a:gd name="T15" fmla="*/ 2147483647 h 71"/>
              <a:gd name="T16" fmla="*/ 2147483647 w 40"/>
              <a:gd name="T17" fmla="*/ 2147483647 h 71"/>
              <a:gd name="T18" fmla="*/ 2147483647 w 40"/>
              <a:gd name="T19" fmla="*/ 2147483647 h 71"/>
              <a:gd name="T20" fmla="*/ 2147483647 w 40"/>
              <a:gd name="T21" fmla="*/ 2147483647 h 71"/>
              <a:gd name="T22" fmla="*/ 2147483647 w 40"/>
              <a:gd name="T23" fmla="*/ 2147483647 h 7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71"/>
              <a:gd name="T38" fmla="*/ 40 w 40"/>
              <a:gd name="T39" fmla="*/ 71 h 7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71">
                <a:moveTo>
                  <a:pt x="21" y="17"/>
                </a:move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lnTo>
                  <a:pt x="40" y="0"/>
                </a:lnTo>
                <a:lnTo>
                  <a:pt x="40" y="17"/>
                </a:lnTo>
                <a:lnTo>
                  <a:pt x="40" y="34"/>
                </a:lnTo>
                <a:lnTo>
                  <a:pt x="40" y="53"/>
                </a:lnTo>
                <a:lnTo>
                  <a:pt x="21" y="71"/>
                </a:lnTo>
                <a:lnTo>
                  <a:pt x="21" y="53"/>
                </a:lnTo>
                <a:lnTo>
                  <a:pt x="21" y="34"/>
                </a:lnTo>
                <a:lnTo>
                  <a:pt x="2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8" name="Freeform 92"/>
          <p:cNvSpPr>
            <a:spLocks/>
          </p:cNvSpPr>
          <p:nvPr/>
        </p:nvSpPr>
        <p:spPr bwMode="gray">
          <a:xfrm>
            <a:off x="4421188" y="2911475"/>
            <a:ext cx="41275" cy="52388"/>
          </a:xfrm>
          <a:custGeom>
            <a:avLst/>
            <a:gdLst>
              <a:gd name="T0" fmla="*/ 0 w 59"/>
              <a:gd name="T1" fmla="*/ 2147483647 h 73"/>
              <a:gd name="T2" fmla="*/ 2147483647 w 59"/>
              <a:gd name="T3" fmla="*/ 2147483647 h 73"/>
              <a:gd name="T4" fmla="*/ 0 w 59"/>
              <a:gd name="T5" fmla="*/ 2147483647 h 73"/>
              <a:gd name="T6" fmla="*/ 0 w 59"/>
              <a:gd name="T7" fmla="*/ 2147483647 h 73"/>
              <a:gd name="T8" fmla="*/ 0 w 59"/>
              <a:gd name="T9" fmla="*/ 2147483647 h 73"/>
              <a:gd name="T10" fmla="*/ 0 w 59"/>
              <a:gd name="T11" fmla="*/ 0 h 73"/>
              <a:gd name="T12" fmla="*/ 2147483647 w 59"/>
              <a:gd name="T13" fmla="*/ 0 h 73"/>
              <a:gd name="T14" fmla="*/ 2147483647 w 59"/>
              <a:gd name="T15" fmla="*/ 0 h 73"/>
              <a:gd name="T16" fmla="*/ 2147483647 w 59"/>
              <a:gd name="T17" fmla="*/ 2147483647 h 73"/>
              <a:gd name="T18" fmla="*/ 2147483647 w 59"/>
              <a:gd name="T19" fmla="*/ 2147483647 h 73"/>
              <a:gd name="T20" fmla="*/ 2147483647 w 59"/>
              <a:gd name="T21" fmla="*/ 2147483647 h 73"/>
              <a:gd name="T22" fmla="*/ 2147483647 w 59"/>
              <a:gd name="T23" fmla="*/ 2147483647 h 73"/>
              <a:gd name="T24" fmla="*/ 0 w 59"/>
              <a:gd name="T25" fmla="*/ 2147483647 h 73"/>
              <a:gd name="T26" fmla="*/ 0 w 59"/>
              <a:gd name="T27" fmla="*/ 2147483647 h 7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9"/>
              <a:gd name="T43" fmla="*/ 0 h 73"/>
              <a:gd name="T44" fmla="*/ 59 w 59"/>
              <a:gd name="T45" fmla="*/ 73 h 7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9" h="73">
                <a:moveTo>
                  <a:pt x="0" y="54"/>
                </a:moveTo>
                <a:lnTo>
                  <a:pt x="19" y="54"/>
                </a:lnTo>
                <a:lnTo>
                  <a:pt x="0" y="54"/>
                </a:lnTo>
                <a:lnTo>
                  <a:pt x="0" y="37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lnTo>
                  <a:pt x="59" y="17"/>
                </a:lnTo>
                <a:lnTo>
                  <a:pt x="59" y="37"/>
                </a:lnTo>
                <a:lnTo>
                  <a:pt x="40" y="54"/>
                </a:lnTo>
                <a:lnTo>
                  <a:pt x="19" y="73"/>
                </a:lnTo>
                <a:lnTo>
                  <a:pt x="0" y="73"/>
                </a:lnTo>
                <a:lnTo>
                  <a:pt x="0" y="5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89" name="Freeform 93"/>
          <p:cNvSpPr>
            <a:spLocks/>
          </p:cNvSpPr>
          <p:nvPr/>
        </p:nvSpPr>
        <p:spPr bwMode="gray">
          <a:xfrm>
            <a:off x="4573588" y="2862263"/>
            <a:ext cx="12700" cy="23812"/>
          </a:xfrm>
          <a:custGeom>
            <a:avLst/>
            <a:gdLst>
              <a:gd name="T0" fmla="*/ 2147483647 w 21"/>
              <a:gd name="T1" fmla="*/ 2147483647 h 33"/>
              <a:gd name="T2" fmla="*/ 0 w 21"/>
              <a:gd name="T3" fmla="*/ 2147483647 h 33"/>
              <a:gd name="T4" fmla="*/ 0 w 21"/>
              <a:gd name="T5" fmla="*/ 2147483647 h 33"/>
              <a:gd name="T6" fmla="*/ 0 w 21"/>
              <a:gd name="T7" fmla="*/ 0 h 33"/>
              <a:gd name="T8" fmla="*/ 2147483647 w 21"/>
              <a:gd name="T9" fmla="*/ 0 h 33"/>
              <a:gd name="T10" fmla="*/ 2147483647 w 21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33"/>
              <a:gd name="T20" fmla="*/ 21 w 21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33">
                <a:moveTo>
                  <a:pt x="21" y="17"/>
                </a:moveTo>
                <a:lnTo>
                  <a:pt x="0" y="33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lnTo>
                  <a:pt x="2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0" name="Freeform 94"/>
          <p:cNvSpPr>
            <a:spLocks/>
          </p:cNvSpPr>
          <p:nvPr/>
        </p:nvSpPr>
        <p:spPr bwMode="gray">
          <a:xfrm>
            <a:off x="4687888" y="3440113"/>
            <a:ext cx="41275" cy="12700"/>
          </a:xfrm>
          <a:custGeom>
            <a:avLst/>
            <a:gdLst>
              <a:gd name="T0" fmla="*/ 2147483647 w 59"/>
              <a:gd name="T1" fmla="*/ 2147483647 h 19"/>
              <a:gd name="T2" fmla="*/ 2147483647 w 59"/>
              <a:gd name="T3" fmla="*/ 2147483647 h 19"/>
              <a:gd name="T4" fmla="*/ 2147483647 w 59"/>
              <a:gd name="T5" fmla="*/ 2147483647 h 19"/>
              <a:gd name="T6" fmla="*/ 0 w 59"/>
              <a:gd name="T7" fmla="*/ 2147483647 h 19"/>
              <a:gd name="T8" fmla="*/ 0 w 59"/>
              <a:gd name="T9" fmla="*/ 0 h 19"/>
              <a:gd name="T10" fmla="*/ 2147483647 w 59"/>
              <a:gd name="T11" fmla="*/ 0 h 19"/>
              <a:gd name="T12" fmla="*/ 2147483647 w 59"/>
              <a:gd name="T13" fmla="*/ 0 h 19"/>
              <a:gd name="T14" fmla="*/ 2147483647 w 59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19"/>
              <a:gd name="T26" fmla="*/ 59 w 59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19">
                <a:moveTo>
                  <a:pt x="59" y="19"/>
                </a:moveTo>
                <a:lnTo>
                  <a:pt x="40" y="19"/>
                </a:lnTo>
                <a:lnTo>
                  <a:pt x="19" y="19"/>
                </a:lnTo>
                <a:lnTo>
                  <a:pt x="0" y="19"/>
                </a:lnTo>
                <a:lnTo>
                  <a:pt x="0" y="0"/>
                </a:lnTo>
                <a:lnTo>
                  <a:pt x="19" y="0"/>
                </a:lnTo>
                <a:lnTo>
                  <a:pt x="59" y="0"/>
                </a:lnTo>
                <a:lnTo>
                  <a:pt x="59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1" name="Freeform 95"/>
          <p:cNvSpPr>
            <a:spLocks/>
          </p:cNvSpPr>
          <p:nvPr/>
        </p:nvSpPr>
        <p:spPr bwMode="gray">
          <a:xfrm>
            <a:off x="4392613" y="2938463"/>
            <a:ext cx="28575" cy="11112"/>
          </a:xfrm>
          <a:custGeom>
            <a:avLst/>
            <a:gdLst>
              <a:gd name="T0" fmla="*/ 2147483647 w 41"/>
              <a:gd name="T1" fmla="*/ 2147483647 h 17"/>
              <a:gd name="T2" fmla="*/ 2147483647 w 41"/>
              <a:gd name="T3" fmla="*/ 2147483647 h 17"/>
              <a:gd name="T4" fmla="*/ 0 w 41"/>
              <a:gd name="T5" fmla="*/ 2147483647 h 17"/>
              <a:gd name="T6" fmla="*/ 0 w 41"/>
              <a:gd name="T7" fmla="*/ 0 h 17"/>
              <a:gd name="T8" fmla="*/ 2147483647 w 41"/>
              <a:gd name="T9" fmla="*/ 0 h 17"/>
              <a:gd name="T10" fmla="*/ 2147483647 w 41"/>
              <a:gd name="T11" fmla="*/ 0 h 17"/>
              <a:gd name="T12" fmla="*/ 2147483647 w 41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17"/>
              <a:gd name="T23" fmla="*/ 41 w 4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17">
                <a:moveTo>
                  <a:pt x="41" y="17"/>
                </a:moveTo>
                <a:lnTo>
                  <a:pt x="20" y="17"/>
                </a:lnTo>
                <a:lnTo>
                  <a:pt x="0" y="17"/>
                </a:ln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2" name="Freeform 96"/>
          <p:cNvSpPr>
            <a:spLocks/>
          </p:cNvSpPr>
          <p:nvPr/>
        </p:nvSpPr>
        <p:spPr bwMode="gray">
          <a:xfrm>
            <a:off x="4646613" y="2820988"/>
            <a:ext cx="25400" cy="41275"/>
          </a:xfrm>
          <a:custGeom>
            <a:avLst/>
            <a:gdLst>
              <a:gd name="T0" fmla="*/ 2147483647 w 39"/>
              <a:gd name="T1" fmla="*/ 2147483647 h 56"/>
              <a:gd name="T2" fmla="*/ 2147483647 w 39"/>
              <a:gd name="T3" fmla="*/ 2147483647 h 56"/>
              <a:gd name="T4" fmla="*/ 0 w 39"/>
              <a:gd name="T5" fmla="*/ 2147483647 h 56"/>
              <a:gd name="T6" fmla="*/ 0 w 39"/>
              <a:gd name="T7" fmla="*/ 2147483647 h 56"/>
              <a:gd name="T8" fmla="*/ 2147483647 w 39"/>
              <a:gd name="T9" fmla="*/ 2147483647 h 56"/>
              <a:gd name="T10" fmla="*/ 0 w 39"/>
              <a:gd name="T11" fmla="*/ 2147483647 h 56"/>
              <a:gd name="T12" fmla="*/ 0 w 39"/>
              <a:gd name="T13" fmla="*/ 2147483647 h 56"/>
              <a:gd name="T14" fmla="*/ 2147483647 w 39"/>
              <a:gd name="T15" fmla="*/ 0 h 56"/>
              <a:gd name="T16" fmla="*/ 2147483647 w 39"/>
              <a:gd name="T17" fmla="*/ 2147483647 h 56"/>
              <a:gd name="T18" fmla="*/ 2147483647 w 39"/>
              <a:gd name="T19" fmla="*/ 2147483647 h 56"/>
              <a:gd name="T20" fmla="*/ 2147483647 w 39"/>
              <a:gd name="T21" fmla="*/ 2147483647 h 56"/>
              <a:gd name="T22" fmla="*/ 2147483647 w 39"/>
              <a:gd name="T23" fmla="*/ 2147483647 h 5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56"/>
              <a:gd name="T38" fmla="*/ 39 w 39"/>
              <a:gd name="T39" fmla="*/ 56 h 5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56">
                <a:moveTo>
                  <a:pt x="19" y="37"/>
                </a:moveTo>
                <a:lnTo>
                  <a:pt x="19" y="56"/>
                </a:lnTo>
                <a:lnTo>
                  <a:pt x="0" y="56"/>
                </a:lnTo>
                <a:lnTo>
                  <a:pt x="0" y="37"/>
                </a:lnTo>
                <a:lnTo>
                  <a:pt x="19" y="37"/>
                </a:lnTo>
                <a:lnTo>
                  <a:pt x="0" y="37"/>
                </a:lnTo>
                <a:lnTo>
                  <a:pt x="0" y="20"/>
                </a:lnTo>
                <a:lnTo>
                  <a:pt x="19" y="0"/>
                </a:lnTo>
                <a:lnTo>
                  <a:pt x="19" y="20"/>
                </a:lnTo>
                <a:lnTo>
                  <a:pt x="39" y="20"/>
                </a:lnTo>
                <a:lnTo>
                  <a:pt x="19" y="20"/>
                </a:lnTo>
                <a:lnTo>
                  <a:pt x="19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3" name="Freeform 97"/>
          <p:cNvSpPr>
            <a:spLocks/>
          </p:cNvSpPr>
          <p:nvPr/>
        </p:nvSpPr>
        <p:spPr bwMode="gray">
          <a:xfrm>
            <a:off x="2609850" y="1908175"/>
            <a:ext cx="1287463" cy="901700"/>
          </a:xfrm>
          <a:custGeom>
            <a:avLst/>
            <a:gdLst>
              <a:gd name="T0" fmla="*/ 2147483647 w 1845"/>
              <a:gd name="T1" fmla="*/ 2147483647 h 1253"/>
              <a:gd name="T2" fmla="*/ 2147483647 w 1845"/>
              <a:gd name="T3" fmla="*/ 2147483647 h 1253"/>
              <a:gd name="T4" fmla="*/ 2147483647 w 1845"/>
              <a:gd name="T5" fmla="*/ 2147483647 h 1253"/>
              <a:gd name="T6" fmla="*/ 2147483647 w 1845"/>
              <a:gd name="T7" fmla="*/ 2147483647 h 1253"/>
              <a:gd name="T8" fmla="*/ 2147483647 w 1845"/>
              <a:gd name="T9" fmla="*/ 2147483647 h 1253"/>
              <a:gd name="T10" fmla="*/ 2147483647 w 1845"/>
              <a:gd name="T11" fmla="*/ 2147483647 h 1253"/>
              <a:gd name="T12" fmla="*/ 2147483647 w 1845"/>
              <a:gd name="T13" fmla="*/ 2147483647 h 1253"/>
              <a:gd name="T14" fmla="*/ 2147483647 w 1845"/>
              <a:gd name="T15" fmla="*/ 2147483647 h 1253"/>
              <a:gd name="T16" fmla="*/ 2147483647 w 1845"/>
              <a:gd name="T17" fmla="*/ 2147483647 h 1253"/>
              <a:gd name="T18" fmla="*/ 2147483647 w 1845"/>
              <a:gd name="T19" fmla="*/ 2147483647 h 1253"/>
              <a:gd name="T20" fmla="*/ 2147483647 w 1845"/>
              <a:gd name="T21" fmla="*/ 2147483647 h 1253"/>
              <a:gd name="T22" fmla="*/ 2147483647 w 1845"/>
              <a:gd name="T23" fmla="*/ 2147483647 h 1253"/>
              <a:gd name="T24" fmla="*/ 2147483647 w 1845"/>
              <a:gd name="T25" fmla="*/ 2147483647 h 1253"/>
              <a:gd name="T26" fmla="*/ 2147483647 w 1845"/>
              <a:gd name="T27" fmla="*/ 2147483647 h 1253"/>
              <a:gd name="T28" fmla="*/ 2147483647 w 1845"/>
              <a:gd name="T29" fmla="*/ 2147483647 h 1253"/>
              <a:gd name="T30" fmla="*/ 2147483647 w 1845"/>
              <a:gd name="T31" fmla="*/ 2147483647 h 1253"/>
              <a:gd name="T32" fmla="*/ 2147483647 w 1845"/>
              <a:gd name="T33" fmla="*/ 2147483647 h 1253"/>
              <a:gd name="T34" fmla="*/ 2147483647 w 1845"/>
              <a:gd name="T35" fmla="*/ 2147483647 h 1253"/>
              <a:gd name="T36" fmla="*/ 2147483647 w 1845"/>
              <a:gd name="T37" fmla="*/ 2147483647 h 1253"/>
              <a:gd name="T38" fmla="*/ 2147483647 w 1845"/>
              <a:gd name="T39" fmla="*/ 2147483647 h 1253"/>
              <a:gd name="T40" fmla="*/ 2147483647 w 1845"/>
              <a:gd name="T41" fmla="*/ 2147483647 h 1253"/>
              <a:gd name="T42" fmla="*/ 2147483647 w 1845"/>
              <a:gd name="T43" fmla="*/ 2147483647 h 1253"/>
              <a:gd name="T44" fmla="*/ 2147483647 w 1845"/>
              <a:gd name="T45" fmla="*/ 2147483647 h 1253"/>
              <a:gd name="T46" fmla="*/ 2147483647 w 1845"/>
              <a:gd name="T47" fmla="*/ 2147483647 h 1253"/>
              <a:gd name="T48" fmla="*/ 2147483647 w 1845"/>
              <a:gd name="T49" fmla="*/ 0 h 1253"/>
              <a:gd name="T50" fmla="*/ 2147483647 w 1845"/>
              <a:gd name="T51" fmla="*/ 2147483647 h 1253"/>
              <a:gd name="T52" fmla="*/ 2147483647 w 1845"/>
              <a:gd name="T53" fmla="*/ 2147483647 h 1253"/>
              <a:gd name="T54" fmla="*/ 2147483647 w 1845"/>
              <a:gd name="T55" fmla="*/ 2147483647 h 1253"/>
              <a:gd name="T56" fmla="*/ 2147483647 w 1845"/>
              <a:gd name="T57" fmla="*/ 2147483647 h 1253"/>
              <a:gd name="T58" fmla="*/ 2147483647 w 1845"/>
              <a:gd name="T59" fmla="*/ 2147483647 h 1253"/>
              <a:gd name="T60" fmla="*/ 2147483647 w 1845"/>
              <a:gd name="T61" fmla="*/ 2147483647 h 1253"/>
              <a:gd name="T62" fmla="*/ 2147483647 w 1845"/>
              <a:gd name="T63" fmla="*/ 2147483647 h 1253"/>
              <a:gd name="T64" fmla="*/ 2147483647 w 1845"/>
              <a:gd name="T65" fmla="*/ 2147483647 h 1253"/>
              <a:gd name="T66" fmla="*/ 2147483647 w 1845"/>
              <a:gd name="T67" fmla="*/ 2147483647 h 1253"/>
              <a:gd name="T68" fmla="*/ 2147483647 w 1845"/>
              <a:gd name="T69" fmla="*/ 2147483647 h 1253"/>
              <a:gd name="T70" fmla="*/ 2147483647 w 1845"/>
              <a:gd name="T71" fmla="*/ 2147483647 h 1253"/>
              <a:gd name="T72" fmla="*/ 2147483647 w 1845"/>
              <a:gd name="T73" fmla="*/ 2147483647 h 1253"/>
              <a:gd name="T74" fmla="*/ 2147483647 w 1845"/>
              <a:gd name="T75" fmla="*/ 2147483647 h 1253"/>
              <a:gd name="T76" fmla="*/ 2147483647 w 1845"/>
              <a:gd name="T77" fmla="*/ 2147483647 h 1253"/>
              <a:gd name="T78" fmla="*/ 2147483647 w 1845"/>
              <a:gd name="T79" fmla="*/ 2147483647 h 1253"/>
              <a:gd name="T80" fmla="*/ 2147483647 w 1845"/>
              <a:gd name="T81" fmla="*/ 2147483647 h 1253"/>
              <a:gd name="T82" fmla="*/ 2147483647 w 1845"/>
              <a:gd name="T83" fmla="*/ 2147483647 h 1253"/>
              <a:gd name="T84" fmla="*/ 2147483647 w 1845"/>
              <a:gd name="T85" fmla="*/ 2147483647 h 1253"/>
              <a:gd name="T86" fmla="*/ 2147483647 w 1845"/>
              <a:gd name="T87" fmla="*/ 2147483647 h 1253"/>
              <a:gd name="T88" fmla="*/ 2147483647 w 1845"/>
              <a:gd name="T89" fmla="*/ 2147483647 h 1253"/>
              <a:gd name="T90" fmla="*/ 2147483647 w 1845"/>
              <a:gd name="T91" fmla="*/ 2147483647 h 1253"/>
              <a:gd name="T92" fmla="*/ 2147483647 w 1845"/>
              <a:gd name="T93" fmla="*/ 2147483647 h 1253"/>
              <a:gd name="T94" fmla="*/ 2147483647 w 1845"/>
              <a:gd name="T95" fmla="*/ 2147483647 h 1253"/>
              <a:gd name="T96" fmla="*/ 2147483647 w 1845"/>
              <a:gd name="T97" fmla="*/ 2147483647 h 1253"/>
              <a:gd name="T98" fmla="*/ 2147483647 w 1845"/>
              <a:gd name="T99" fmla="*/ 2147483647 h 1253"/>
              <a:gd name="T100" fmla="*/ 2147483647 w 1845"/>
              <a:gd name="T101" fmla="*/ 2147483647 h 1253"/>
              <a:gd name="T102" fmla="*/ 2147483647 w 1845"/>
              <a:gd name="T103" fmla="*/ 2147483647 h 1253"/>
              <a:gd name="T104" fmla="*/ 2147483647 w 1845"/>
              <a:gd name="T105" fmla="*/ 2147483647 h 1253"/>
              <a:gd name="T106" fmla="*/ 2147483647 w 1845"/>
              <a:gd name="T107" fmla="*/ 2147483647 h 1253"/>
              <a:gd name="T108" fmla="*/ 2147483647 w 1845"/>
              <a:gd name="T109" fmla="*/ 2147483647 h 1253"/>
              <a:gd name="T110" fmla="*/ 2147483647 w 1845"/>
              <a:gd name="T111" fmla="*/ 2147483647 h 1253"/>
              <a:gd name="T112" fmla="*/ 2147483647 w 1845"/>
              <a:gd name="T113" fmla="*/ 2147483647 h 1253"/>
              <a:gd name="T114" fmla="*/ 2147483647 w 1845"/>
              <a:gd name="T115" fmla="*/ 2147483647 h 1253"/>
              <a:gd name="T116" fmla="*/ 2147483647 w 1845"/>
              <a:gd name="T117" fmla="*/ 2147483647 h 1253"/>
              <a:gd name="T118" fmla="*/ 2147483647 w 1845"/>
              <a:gd name="T119" fmla="*/ 2147483647 h 1253"/>
              <a:gd name="T120" fmla="*/ 2147483647 w 1845"/>
              <a:gd name="T121" fmla="*/ 2147483647 h 1253"/>
              <a:gd name="T122" fmla="*/ 2147483647 w 1845"/>
              <a:gd name="T123" fmla="*/ 2147483647 h 1253"/>
              <a:gd name="T124" fmla="*/ 2147483647 w 1845"/>
              <a:gd name="T125" fmla="*/ 2147483647 h 125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45"/>
              <a:gd name="T190" fmla="*/ 0 h 1253"/>
              <a:gd name="T191" fmla="*/ 1845 w 1845"/>
              <a:gd name="T192" fmla="*/ 1253 h 125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45" h="1253">
                <a:moveTo>
                  <a:pt x="622" y="877"/>
                </a:moveTo>
                <a:lnTo>
                  <a:pt x="641" y="877"/>
                </a:lnTo>
                <a:lnTo>
                  <a:pt x="641" y="860"/>
                </a:lnTo>
                <a:lnTo>
                  <a:pt x="662" y="840"/>
                </a:lnTo>
                <a:lnTo>
                  <a:pt x="682" y="806"/>
                </a:lnTo>
                <a:lnTo>
                  <a:pt x="641" y="806"/>
                </a:lnTo>
                <a:lnTo>
                  <a:pt x="582" y="806"/>
                </a:lnTo>
                <a:lnTo>
                  <a:pt x="563" y="769"/>
                </a:lnTo>
                <a:lnTo>
                  <a:pt x="582" y="769"/>
                </a:lnTo>
                <a:lnTo>
                  <a:pt x="601" y="787"/>
                </a:lnTo>
                <a:lnTo>
                  <a:pt x="622" y="787"/>
                </a:lnTo>
                <a:lnTo>
                  <a:pt x="641" y="787"/>
                </a:lnTo>
                <a:lnTo>
                  <a:pt x="641" y="769"/>
                </a:lnTo>
                <a:lnTo>
                  <a:pt x="641" y="752"/>
                </a:lnTo>
                <a:lnTo>
                  <a:pt x="601" y="733"/>
                </a:lnTo>
                <a:lnTo>
                  <a:pt x="582" y="716"/>
                </a:lnTo>
                <a:lnTo>
                  <a:pt x="582" y="733"/>
                </a:lnTo>
                <a:lnTo>
                  <a:pt x="563" y="733"/>
                </a:lnTo>
                <a:lnTo>
                  <a:pt x="541" y="752"/>
                </a:lnTo>
                <a:lnTo>
                  <a:pt x="522" y="733"/>
                </a:lnTo>
                <a:lnTo>
                  <a:pt x="522" y="716"/>
                </a:lnTo>
                <a:lnTo>
                  <a:pt x="522" y="696"/>
                </a:lnTo>
                <a:lnTo>
                  <a:pt x="541" y="696"/>
                </a:lnTo>
                <a:lnTo>
                  <a:pt x="541" y="679"/>
                </a:lnTo>
                <a:lnTo>
                  <a:pt x="522" y="662"/>
                </a:lnTo>
                <a:lnTo>
                  <a:pt x="522" y="643"/>
                </a:lnTo>
                <a:lnTo>
                  <a:pt x="522" y="610"/>
                </a:lnTo>
                <a:lnTo>
                  <a:pt x="482" y="574"/>
                </a:lnTo>
                <a:lnTo>
                  <a:pt x="463" y="537"/>
                </a:lnTo>
                <a:lnTo>
                  <a:pt x="399" y="520"/>
                </a:lnTo>
                <a:lnTo>
                  <a:pt x="359" y="483"/>
                </a:lnTo>
                <a:lnTo>
                  <a:pt x="300" y="483"/>
                </a:lnTo>
                <a:lnTo>
                  <a:pt x="280" y="483"/>
                </a:lnTo>
                <a:lnTo>
                  <a:pt x="259" y="483"/>
                </a:lnTo>
                <a:lnTo>
                  <a:pt x="240" y="501"/>
                </a:lnTo>
                <a:lnTo>
                  <a:pt x="221" y="501"/>
                </a:lnTo>
                <a:lnTo>
                  <a:pt x="221" y="483"/>
                </a:lnTo>
                <a:lnTo>
                  <a:pt x="200" y="483"/>
                </a:lnTo>
                <a:lnTo>
                  <a:pt x="200" y="501"/>
                </a:lnTo>
                <a:lnTo>
                  <a:pt x="181" y="501"/>
                </a:lnTo>
                <a:lnTo>
                  <a:pt x="159" y="501"/>
                </a:lnTo>
                <a:lnTo>
                  <a:pt x="140" y="483"/>
                </a:lnTo>
                <a:lnTo>
                  <a:pt x="119" y="483"/>
                </a:lnTo>
                <a:lnTo>
                  <a:pt x="119" y="466"/>
                </a:lnTo>
                <a:lnTo>
                  <a:pt x="140" y="466"/>
                </a:lnTo>
                <a:lnTo>
                  <a:pt x="140" y="447"/>
                </a:lnTo>
                <a:lnTo>
                  <a:pt x="119" y="447"/>
                </a:lnTo>
                <a:lnTo>
                  <a:pt x="100" y="447"/>
                </a:lnTo>
                <a:lnTo>
                  <a:pt x="81" y="447"/>
                </a:lnTo>
                <a:lnTo>
                  <a:pt x="60" y="447"/>
                </a:lnTo>
                <a:lnTo>
                  <a:pt x="60" y="430"/>
                </a:lnTo>
                <a:lnTo>
                  <a:pt x="81" y="430"/>
                </a:lnTo>
                <a:lnTo>
                  <a:pt x="100" y="430"/>
                </a:lnTo>
                <a:lnTo>
                  <a:pt x="119" y="430"/>
                </a:lnTo>
                <a:lnTo>
                  <a:pt x="140" y="430"/>
                </a:lnTo>
                <a:lnTo>
                  <a:pt x="140" y="412"/>
                </a:lnTo>
                <a:lnTo>
                  <a:pt x="181" y="412"/>
                </a:lnTo>
                <a:lnTo>
                  <a:pt x="200" y="412"/>
                </a:lnTo>
                <a:lnTo>
                  <a:pt x="200" y="393"/>
                </a:lnTo>
                <a:lnTo>
                  <a:pt x="181" y="393"/>
                </a:lnTo>
                <a:lnTo>
                  <a:pt x="159" y="393"/>
                </a:lnTo>
                <a:lnTo>
                  <a:pt x="140" y="393"/>
                </a:lnTo>
                <a:lnTo>
                  <a:pt x="119" y="393"/>
                </a:lnTo>
                <a:lnTo>
                  <a:pt x="81" y="393"/>
                </a:lnTo>
                <a:lnTo>
                  <a:pt x="40" y="393"/>
                </a:lnTo>
                <a:lnTo>
                  <a:pt x="0" y="357"/>
                </a:lnTo>
                <a:lnTo>
                  <a:pt x="19" y="339"/>
                </a:lnTo>
                <a:lnTo>
                  <a:pt x="40" y="339"/>
                </a:lnTo>
                <a:lnTo>
                  <a:pt x="60" y="339"/>
                </a:lnTo>
                <a:lnTo>
                  <a:pt x="81" y="339"/>
                </a:lnTo>
                <a:lnTo>
                  <a:pt x="100" y="322"/>
                </a:lnTo>
                <a:lnTo>
                  <a:pt x="119" y="322"/>
                </a:lnTo>
                <a:lnTo>
                  <a:pt x="140" y="322"/>
                </a:lnTo>
                <a:lnTo>
                  <a:pt x="181" y="322"/>
                </a:lnTo>
                <a:lnTo>
                  <a:pt x="200" y="303"/>
                </a:lnTo>
                <a:lnTo>
                  <a:pt x="221" y="288"/>
                </a:lnTo>
                <a:lnTo>
                  <a:pt x="240" y="270"/>
                </a:lnTo>
                <a:lnTo>
                  <a:pt x="200" y="251"/>
                </a:lnTo>
                <a:lnTo>
                  <a:pt x="181" y="251"/>
                </a:lnTo>
                <a:lnTo>
                  <a:pt x="159" y="234"/>
                </a:lnTo>
                <a:lnTo>
                  <a:pt x="181" y="215"/>
                </a:lnTo>
                <a:lnTo>
                  <a:pt x="221" y="215"/>
                </a:lnTo>
                <a:lnTo>
                  <a:pt x="259" y="197"/>
                </a:lnTo>
                <a:lnTo>
                  <a:pt x="280" y="161"/>
                </a:lnTo>
                <a:lnTo>
                  <a:pt x="300" y="161"/>
                </a:lnTo>
                <a:lnTo>
                  <a:pt x="321" y="180"/>
                </a:lnTo>
                <a:lnTo>
                  <a:pt x="340" y="161"/>
                </a:lnTo>
                <a:lnTo>
                  <a:pt x="340" y="144"/>
                </a:lnTo>
                <a:lnTo>
                  <a:pt x="359" y="126"/>
                </a:lnTo>
                <a:lnTo>
                  <a:pt x="399" y="126"/>
                </a:lnTo>
                <a:lnTo>
                  <a:pt x="421" y="107"/>
                </a:lnTo>
                <a:lnTo>
                  <a:pt x="463" y="107"/>
                </a:lnTo>
                <a:lnTo>
                  <a:pt x="482" y="90"/>
                </a:lnTo>
                <a:lnTo>
                  <a:pt x="522" y="90"/>
                </a:lnTo>
                <a:lnTo>
                  <a:pt x="541" y="90"/>
                </a:lnTo>
                <a:lnTo>
                  <a:pt x="563" y="107"/>
                </a:lnTo>
                <a:lnTo>
                  <a:pt x="582" y="126"/>
                </a:lnTo>
                <a:lnTo>
                  <a:pt x="582" y="107"/>
                </a:lnTo>
                <a:lnTo>
                  <a:pt x="582" y="90"/>
                </a:lnTo>
                <a:lnTo>
                  <a:pt x="601" y="107"/>
                </a:lnTo>
                <a:lnTo>
                  <a:pt x="641" y="107"/>
                </a:lnTo>
                <a:lnTo>
                  <a:pt x="641" y="90"/>
                </a:lnTo>
                <a:lnTo>
                  <a:pt x="662" y="90"/>
                </a:lnTo>
                <a:lnTo>
                  <a:pt x="703" y="90"/>
                </a:lnTo>
                <a:lnTo>
                  <a:pt x="741" y="90"/>
                </a:lnTo>
                <a:lnTo>
                  <a:pt x="762" y="107"/>
                </a:lnTo>
                <a:lnTo>
                  <a:pt x="781" y="107"/>
                </a:lnTo>
                <a:lnTo>
                  <a:pt x="803" y="107"/>
                </a:lnTo>
                <a:lnTo>
                  <a:pt x="781" y="107"/>
                </a:lnTo>
                <a:lnTo>
                  <a:pt x="762" y="90"/>
                </a:lnTo>
                <a:lnTo>
                  <a:pt x="741" y="71"/>
                </a:lnTo>
                <a:lnTo>
                  <a:pt x="762" y="71"/>
                </a:lnTo>
                <a:lnTo>
                  <a:pt x="781" y="71"/>
                </a:lnTo>
                <a:lnTo>
                  <a:pt x="781" y="53"/>
                </a:lnTo>
                <a:lnTo>
                  <a:pt x="803" y="36"/>
                </a:lnTo>
                <a:lnTo>
                  <a:pt x="841" y="36"/>
                </a:lnTo>
                <a:lnTo>
                  <a:pt x="862" y="36"/>
                </a:lnTo>
                <a:lnTo>
                  <a:pt x="881" y="36"/>
                </a:lnTo>
                <a:lnTo>
                  <a:pt x="922" y="36"/>
                </a:lnTo>
                <a:lnTo>
                  <a:pt x="945" y="36"/>
                </a:lnTo>
                <a:lnTo>
                  <a:pt x="964" y="36"/>
                </a:lnTo>
                <a:lnTo>
                  <a:pt x="983" y="36"/>
                </a:lnTo>
                <a:lnTo>
                  <a:pt x="1004" y="36"/>
                </a:lnTo>
                <a:lnTo>
                  <a:pt x="1044" y="17"/>
                </a:lnTo>
                <a:lnTo>
                  <a:pt x="1104" y="0"/>
                </a:lnTo>
                <a:lnTo>
                  <a:pt x="1144" y="0"/>
                </a:lnTo>
                <a:lnTo>
                  <a:pt x="1204" y="0"/>
                </a:lnTo>
                <a:lnTo>
                  <a:pt x="1244" y="0"/>
                </a:lnTo>
                <a:lnTo>
                  <a:pt x="1325" y="0"/>
                </a:lnTo>
                <a:lnTo>
                  <a:pt x="1363" y="17"/>
                </a:lnTo>
                <a:lnTo>
                  <a:pt x="1426" y="36"/>
                </a:lnTo>
                <a:lnTo>
                  <a:pt x="1465" y="53"/>
                </a:lnTo>
                <a:lnTo>
                  <a:pt x="1505" y="53"/>
                </a:lnTo>
                <a:lnTo>
                  <a:pt x="1526" y="53"/>
                </a:lnTo>
                <a:lnTo>
                  <a:pt x="1567" y="71"/>
                </a:lnTo>
                <a:lnTo>
                  <a:pt x="1545" y="90"/>
                </a:lnTo>
                <a:lnTo>
                  <a:pt x="1505" y="90"/>
                </a:lnTo>
                <a:lnTo>
                  <a:pt x="1446" y="90"/>
                </a:lnTo>
                <a:lnTo>
                  <a:pt x="1426" y="107"/>
                </a:lnTo>
                <a:lnTo>
                  <a:pt x="1344" y="107"/>
                </a:lnTo>
                <a:lnTo>
                  <a:pt x="1244" y="107"/>
                </a:lnTo>
                <a:lnTo>
                  <a:pt x="1223" y="107"/>
                </a:lnTo>
                <a:lnTo>
                  <a:pt x="1244" y="126"/>
                </a:lnTo>
                <a:lnTo>
                  <a:pt x="1325" y="107"/>
                </a:lnTo>
                <a:lnTo>
                  <a:pt x="1384" y="107"/>
                </a:lnTo>
                <a:lnTo>
                  <a:pt x="1446" y="107"/>
                </a:lnTo>
                <a:lnTo>
                  <a:pt x="1426" y="126"/>
                </a:lnTo>
                <a:lnTo>
                  <a:pt x="1403" y="161"/>
                </a:lnTo>
                <a:lnTo>
                  <a:pt x="1384" y="161"/>
                </a:lnTo>
                <a:lnTo>
                  <a:pt x="1446" y="161"/>
                </a:lnTo>
                <a:lnTo>
                  <a:pt x="1486" y="126"/>
                </a:lnTo>
                <a:lnTo>
                  <a:pt x="1526" y="107"/>
                </a:lnTo>
                <a:lnTo>
                  <a:pt x="1545" y="107"/>
                </a:lnTo>
                <a:lnTo>
                  <a:pt x="1545" y="126"/>
                </a:lnTo>
                <a:lnTo>
                  <a:pt x="1567" y="144"/>
                </a:lnTo>
                <a:lnTo>
                  <a:pt x="1526" y="161"/>
                </a:lnTo>
                <a:lnTo>
                  <a:pt x="1505" y="197"/>
                </a:lnTo>
                <a:lnTo>
                  <a:pt x="1486" y="215"/>
                </a:lnTo>
                <a:lnTo>
                  <a:pt x="1526" y="197"/>
                </a:lnTo>
                <a:lnTo>
                  <a:pt x="1567" y="161"/>
                </a:lnTo>
                <a:lnTo>
                  <a:pt x="1586" y="144"/>
                </a:lnTo>
                <a:lnTo>
                  <a:pt x="1605" y="144"/>
                </a:lnTo>
                <a:lnTo>
                  <a:pt x="1645" y="144"/>
                </a:lnTo>
                <a:lnTo>
                  <a:pt x="1666" y="144"/>
                </a:lnTo>
                <a:lnTo>
                  <a:pt x="1686" y="144"/>
                </a:lnTo>
                <a:lnTo>
                  <a:pt x="1705" y="144"/>
                </a:lnTo>
                <a:lnTo>
                  <a:pt x="1705" y="126"/>
                </a:lnTo>
                <a:lnTo>
                  <a:pt x="1726" y="126"/>
                </a:lnTo>
                <a:lnTo>
                  <a:pt x="1766" y="126"/>
                </a:lnTo>
                <a:lnTo>
                  <a:pt x="1785" y="126"/>
                </a:lnTo>
                <a:lnTo>
                  <a:pt x="1785" y="107"/>
                </a:lnTo>
                <a:lnTo>
                  <a:pt x="1826" y="107"/>
                </a:lnTo>
                <a:lnTo>
                  <a:pt x="1845" y="126"/>
                </a:lnTo>
                <a:lnTo>
                  <a:pt x="1845" y="144"/>
                </a:lnTo>
                <a:lnTo>
                  <a:pt x="1845" y="161"/>
                </a:lnTo>
                <a:lnTo>
                  <a:pt x="1785" y="180"/>
                </a:lnTo>
                <a:lnTo>
                  <a:pt x="1766" y="197"/>
                </a:lnTo>
                <a:lnTo>
                  <a:pt x="1726" y="215"/>
                </a:lnTo>
                <a:lnTo>
                  <a:pt x="1745" y="215"/>
                </a:lnTo>
                <a:lnTo>
                  <a:pt x="1726" y="234"/>
                </a:lnTo>
                <a:lnTo>
                  <a:pt x="1705" y="234"/>
                </a:lnTo>
                <a:lnTo>
                  <a:pt x="1705" y="251"/>
                </a:lnTo>
                <a:lnTo>
                  <a:pt x="1686" y="270"/>
                </a:lnTo>
                <a:lnTo>
                  <a:pt x="1666" y="270"/>
                </a:lnTo>
                <a:lnTo>
                  <a:pt x="1645" y="270"/>
                </a:lnTo>
                <a:lnTo>
                  <a:pt x="1645" y="288"/>
                </a:lnTo>
                <a:lnTo>
                  <a:pt x="1645" y="303"/>
                </a:lnTo>
                <a:lnTo>
                  <a:pt x="1626" y="322"/>
                </a:lnTo>
                <a:lnTo>
                  <a:pt x="1605" y="339"/>
                </a:lnTo>
                <a:lnTo>
                  <a:pt x="1586" y="339"/>
                </a:lnTo>
                <a:lnTo>
                  <a:pt x="1586" y="357"/>
                </a:lnTo>
                <a:lnTo>
                  <a:pt x="1586" y="376"/>
                </a:lnTo>
                <a:lnTo>
                  <a:pt x="1605" y="376"/>
                </a:lnTo>
                <a:lnTo>
                  <a:pt x="1626" y="376"/>
                </a:lnTo>
                <a:lnTo>
                  <a:pt x="1645" y="376"/>
                </a:lnTo>
                <a:lnTo>
                  <a:pt x="1645" y="393"/>
                </a:lnTo>
                <a:lnTo>
                  <a:pt x="1666" y="393"/>
                </a:lnTo>
                <a:lnTo>
                  <a:pt x="1645" y="393"/>
                </a:lnTo>
                <a:lnTo>
                  <a:pt x="1686" y="412"/>
                </a:lnTo>
                <a:lnTo>
                  <a:pt x="1686" y="430"/>
                </a:lnTo>
                <a:lnTo>
                  <a:pt x="1666" y="447"/>
                </a:lnTo>
                <a:lnTo>
                  <a:pt x="1645" y="447"/>
                </a:lnTo>
                <a:lnTo>
                  <a:pt x="1605" y="447"/>
                </a:lnTo>
                <a:lnTo>
                  <a:pt x="1586" y="447"/>
                </a:lnTo>
                <a:lnTo>
                  <a:pt x="1586" y="466"/>
                </a:lnTo>
                <a:lnTo>
                  <a:pt x="1605" y="466"/>
                </a:lnTo>
                <a:lnTo>
                  <a:pt x="1626" y="466"/>
                </a:lnTo>
                <a:lnTo>
                  <a:pt x="1645" y="501"/>
                </a:lnTo>
                <a:lnTo>
                  <a:pt x="1645" y="520"/>
                </a:lnTo>
                <a:lnTo>
                  <a:pt x="1645" y="537"/>
                </a:lnTo>
                <a:lnTo>
                  <a:pt x="1626" y="537"/>
                </a:lnTo>
                <a:lnTo>
                  <a:pt x="1605" y="537"/>
                </a:lnTo>
                <a:lnTo>
                  <a:pt x="1605" y="556"/>
                </a:lnTo>
                <a:lnTo>
                  <a:pt x="1626" y="574"/>
                </a:lnTo>
                <a:lnTo>
                  <a:pt x="1645" y="574"/>
                </a:lnTo>
                <a:lnTo>
                  <a:pt x="1626" y="591"/>
                </a:lnTo>
                <a:lnTo>
                  <a:pt x="1605" y="591"/>
                </a:lnTo>
                <a:lnTo>
                  <a:pt x="1605" y="610"/>
                </a:lnTo>
                <a:lnTo>
                  <a:pt x="1586" y="627"/>
                </a:lnTo>
                <a:lnTo>
                  <a:pt x="1567" y="643"/>
                </a:lnTo>
                <a:lnTo>
                  <a:pt x="1545" y="643"/>
                </a:lnTo>
                <a:lnTo>
                  <a:pt x="1526" y="627"/>
                </a:lnTo>
                <a:lnTo>
                  <a:pt x="1505" y="627"/>
                </a:lnTo>
                <a:lnTo>
                  <a:pt x="1526" y="643"/>
                </a:lnTo>
                <a:lnTo>
                  <a:pt x="1545" y="643"/>
                </a:lnTo>
                <a:lnTo>
                  <a:pt x="1567" y="679"/>
                </a:lnTo>
                <a:lnTo>
                  <a:pt x="1567" y="696"/>
                </a:lnTo>
                <a:lnTo>
                  <a:pt x="1545" y="696"/>
                </a:lnTo>
                <a:lnTo>
                  <a:pt x="1526" y="696"/>
                </a:lnTo>
                <a:lnTo>
                  <a:pt x="1505" y="679"/>
                </a:lnTo>
                <a:lnTo>
                  <a:pt x="1486" y="643"/>
                </a:lnTo>
                <a:lnTo>
                  <a:pt x="1465" y="643"/>
                </a:lnTo>
                <a:lnTo>
                  <a:pt x="1465" y="662"/>
                </a:lnTo>
                <a:lnTo>
                  <a:pt x="1526" y="696"/>
                </a:lnTo>
                <a:lnTo>
                  <a:pt x="1567" y="733"/>
                </a:lnTo>
                <a:lnTo>
                  <a:pt x="1586" y="769"/>
                </a:lnTo>
                <a:lnTo>
                  <a:pt x="1586" y="787"/>
                </a:lnTo>
                <a:lnTo>
                  <a:pt x="1567" y="787"/>
                </a:lnTo>
                <a:lnTo>
                  <a:pt x="1526" y="769"/>
                </a:lnTo>
                <a:lnTo>
                  <a:pt x="1505" y="752"/>
                </a:lnTo>
                <a:lnTo>
                  <a:pt x="1465" y="752"/>
                </a:lnTo>
                <a:lnTo>
                  <a:pt x="1446" y="752"/>
                </a:lnTo>
                <a:lnTo>
                  <a:pt x="1465" y="752"/>
                </a:lnTo>
                <a:lnTo>
                  <a:pt x="1446" y="769"/>
                </a:lnTo>
                <a:lnTo>
                  <a:pt x="1465" y="806"/>
                </a:lnTo>
                <a:lnTo>
                  <a:pt x="1526" y="806"/>
                </a:lnTo>
                <a:lnTo>
                  <a:pt x="1567" y="806"/>
                </a:lnTo>
                <a:lnTo>
                  <a:pt x="1545" y="806"/>
                </a:lnTo>
                <a:lnTo>
                  <a:pt x="1526" y="823"/>
                </a:lnTo>
                <a:lnTo>
                  <a:pt x="1486" y="840"/>
                </a:lnTo>
                <a:lnTo>
                  <a:pt x="1446" y="860"/>
                </a:lnTo>
                <a:lnTo>
                  <a:pt x="1384" y="877"/>
                </a:lnTo>
                <a:lnTo>
                  <a:pt x="1363" y="877"/>
                </a:lnTo>
                <a:lnTo>
                  <a:pt x="1325" y="896"/>
                </a:lnTo>
                <a:lnTo>
                  <a:pt x="1284" y="896"/>
                </a:lnTo>
                <a:lnTo>
                  <a:pt x="1263" y="896"/>
                </a:lnTo>
                <a:lnTo>
                  <a:pt x="1244" y="896"/>
                </a:lnTo>
                <a:lnTo>
                  <a:pt x="1244" y="913"/>
                </a:lnTo>
                <a:lnTo>
                  <a:pt x="1244" y="931"/>
                </a:lnTo>
                <a:lnTo>
                  <a:pt x="1223" y="931"/>
                </a:lnTo>
                <a:lnTo>
                  <a:pt x="1204" y="950"/>
                </a:lnTo>
                <a:lnTo>
                  <a:pt x="1185" y="967"/>
                </a:lnTo>
                <a:lnTo>
                  <a:pt x="1185" y="984"/>
                </a:lnTo>
                <a:lnTo>
                  <a:pt x="1163" y="984"/>
                </a:lnTo>
                <a:lnTo>
                  <a:pt x="1123" y="1002"/>
                </a:lnTo>
                <a:lnTo>
                  <a:pt x="1104" y="1002"/>
                </a:lnTo>
                <a:lnTo>
                  <a:pt x="1085" y="1002"/>
                </a:lnTo>
                <a:lnTo>
                  <a:pt x="1085" y="984"/>
                </a:lnTo>
                <a:lnTo>
                  <a:pt x="1064" y="984"/>
                </a:lnTo>
                <a:lnTo>
                  <a:pt x="1064" y="1002"/>
                </a:lnTo>
                <a:lnTo>
                  <a:pt x="1064" y="1019"/>
                </a:lnTo>
                <a:lnTo>
                  <a:pt x="1044" y="1038"/>
                </a:lnTo>
                <a:lnTo>
                  <a:pt x="983" y="1038"/>
                </a:lnTo>
                <a:lnTo>
                  <a:pt x="983" y="1055"/>
                </a:lnTo>
                <a:lnTo>
                  <a:pt x="983" y="1073"/>
                </a:lnTo>
                <a:lnTo>
                  <a:pt x="983" y="1092"/>
                </a:lnTo>
                <a:lnTo>
                  <a:pt x="983" y="1109"/>
                </a:lnTo>
                <a:lnTo>
                  <a:pt x="945" y="1109"/>
                </a:lnTo>
                <a:lnTo>
                  <a:pt x="945" y="1146"/>
                </a:lnTo>
                <a:lnTo>
                  <a:pt x="922" y="1146"/>
                </a:lnTo>
                <a:lnTo>
                  <a:pt x="922" y="1163"/>
                </a:lnTo>
                <a:lnTo>
                  <a:pt x="945" y="1199"/>
                </a:lnTo>
                <a:lnTo>
                  <a:pt x="922" y="1199"/>
                </a:lnTo>
                <a:lnTo>
                  <a:pt x="922" y="1236"/>
                </a:lnTo>
                <a:lnTo>
                  <a:pt x="902" y="1253"/>
                </a:lnTo>
                <a:lnTo>
                  <a:pt x="881" y="1253"/>
                </a:lnTo>
                <a:lnTo>
                  <a:pt x="881" y="1236"/>
                </a:lnTo>
                <a:lnTo>
                  <a:pt x="862" y="1236"/>
                </a:lnTo>
                <a:lnTo>
                  <a:pt x="862" y="1253"/>
                </a:lnTo>
                <a:lnTo>
                  <a:pt x="841" y="1236"/>
                </a:lnTo>
                <a:lnTo>
                  <a:pt x="822" y="1199"/>
                </a:lnTo>
                <a:lnTo>
                  <a:pt x="803" y="1199"/>
                </a:lnTo>
                <a:lnTo>
                  <a:pt x="781" y="1199"/>
                </a:lnTo>
                <a:lnTo>
                  <a:pt x="762" y="1199"/>
                </a:lnTo>
                <a:lnTo>
                  <a:pt x="741" y="1199"/>
                </a:lnTo>
                <a:lnTo>
                  <a:pt x="722" y="1199"/>
                </a:lnTo>
                <a:lnTo>
                  <a:pt x="722" y="1182"/>
                </a:lnTo>
                <a:lnTo>
                  <a:pt x="722" y="1163"/>
                </a:lnTo>
                <a:lnTo>
                  <a:pt x="703" y="1146"/>
                </a:lnTo>
                <a:lnTo>
                  <a:pt x="662" y="1109"/>
                </a:lnTo>
                <a:lnTo>
                  <a:pt x="641" y="1092"/>
                </a:lnTo>
                <a:lnTo>
                  <a:pt x="641" y="1073"/>
                </a:lnTo>
                <a:lnTo>
                  <a:pt x="662" y="1073"/>
                </a:lnTo>
                <a:lnTo>
                  <a:pt x="662" y="1055"/>
                </a:lnTo>
                <a:lnTo>
                  <a:pt x="641" y="1055"/>
                </a:lnTo>
                <a:lnTo>
                  <a:pt x="622" y="1055"/>
                </a:lnTo>
                <a:lnTo>
                  <a:pt x="622" y="1038"/>
                </a:lnTo>
                <a:lnTo>
                  <a:pt x="601" y="1038"/>
                </a:lnTo>
                <a:lnTo>
                  <a:pt x="582" y="1002"/>
                </a:lnTo>
                <a:lnTo>
                  <a:pt x="582" y="984"/>
                </a:lnTo>
                <a:lnTo>
                  <a:pt x="582" y="967"/>
                </a:lnTo>
                <a:lnTo>
                  <a:pt x="582" y="950"/>
                </a:lnTo>
                <a:lnTo>
                  <a:pt x="582" y="931"/>
                </a:lnTo>
                <a:lnTo>
                  <a:pt x="601" y="913"/>
                </a:lnTo>
                <a:lnTo>
                  <a:pt x="622" y="896"/>
                </a:lnTo>
                <a:lnTo>
                  <a:pt x="622" y="87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4" name="Freeform 98"/>
          <p:cNvSpPr>
            <a:spLocks/>
          </p:cNvSpPr>
          <p:nvPr/>
        </p:nvSpPr>
        <p:spPr bwMode="gray">
          <a:xfrm>
            <a:off x="5108575" y="4421188"/>
            <a:ext cx="153988" cy="268287"/>
          </a:xfrm>
          <a:custGeom>
            <a:avLst/>
            <a:gdLst>
              <a:gd name="T0" fmla="*/ 0 w 220"/>
              <a:gd name="T1" fmla="*/ 2147483647 h 374"/>
              <a:gd name="T2" fmla="*/ 2147483647 w 220"/>
              <a:gd name="T3" fmla="*/ 2147483647 h 374"/>
              <a:gd name="T4" fmla="*/ 2147483647 w 220"/>
              <a:gd name="T5" fmla="*/ 2147483647 h 374"/>
              <a:gd name="T6" fmla="*/ 2147483647 w 220"/>
              <a:gd name="T7" fmla="*/ 2147483647 h 374"/>
              <a:gd name="T8" fmla="*/ 2147483647 w 220"/>
              <a:gd name="T9" fmla="*/ 2147483647 h 374"/>
              <a:gd name="T10" fmla="*/ 2147483647 w 220"/>
              <a:gd name="T11" fmla="*/ 2147483647 h 374"/>
              <a:gd name="T12" fmla="*/ 2147483647 w 220"/>
              <a:gd name="T13" fmla="*/ 2147483647 h 374"/>
              <a:gd name="T14" fmla="*/ 2147483647 w 220"/>
              <a:gd name="T15" fmla="*/ 2147483647 h 374"/>
              <a:gd name="T16" fmla="*/ 2147483647 w 220"/>
              <a:gd name="T17" fmla="*/ 2147483647 h 374"/>
              <a:gd name="T18" fmla="*/ 2147483647 w 220"/>
              <a:gd name="T19" fmla="*/ 2147483647 h 374"/>
              <a:gd name="T20" fmla="*/ 2147483647 w 220"/>
              <a:gd name="T21" fmla="*/ 2147483647 h 374"/>
              <a:gd name="T22" fmla="*/ 2147483647 w 220"/>
              <a:gd name="T23" fmla="*/ 2147483647 h 374"/>
              <a:gd name="T24" fmla="*/ 2147483647 w 220"/>
              <a:gd name="T25" fmla="*/ 2147483647 h 374"/>
              <a:gd name="T26" fmla="*/ 2147483647 w 220"/>
              <a:gd name="T27" fmla="*/ 2147483647 h 374"/>
              <a:gd name="T28" fmla="*/ 2147483647 w 220"/>
              <a:gd name="T29" fmla="*/ 0 h 374"/>
              <a:gd name="T30" fmla="*/ 2147483647 w 220"/>
              <a:gd name="T31" fmla="*/ 2147483647 h 374"/>
              <a:gd name="T32" fmla="*/ 2147483647 w 220"/>
              <a:gd name="T33" fmla="*/ 2147483647 h 374"/>
              <a:gd name="T34" fmla="*/ 2147483647 w 220"/>
              <a:gd name="T35" fmla="*/ 2147483647 h 374"/>
              <a:gd name="T36" fmla="*/ 2147483647 w 220"/>
              <a:gd name="T37" fmla="*/ 2147483647 h 374"/>
              <a:gd name="T38" fmla="*/ 2147483647 w 220"/>
              <a:gd name="T39" fmla="*/ 2147483647 h 374"/>
              <a:gd name="T40" fmla="*/ 2147483647 w 220"/>
              <a:gd name="T41" fmla="*/ 2147483647 h 374"/>
              <a:gd name="T42" fmla="*/ 2147483647 w 220"/>
              <a:gd name="T43" fmla="*/ 2147483647 h 374"/>
              <a:gd name="T44" fmla="*/ 2147483647 w 220"/>
              <a:gd name="T45" fmla="*/ 2147483647 h 374"/>
              <a:gd name="T46" fmla="*/ 2147483647 w 220"/>
              <a:gd name="T47" fmla="*/ 2147483647 h 374"/>
              <a:gd name="T48" fmla="*/ 2147483647 w 220"/>
              <a:gd name="T49" fmla="*/ 2147483647 h 374"/>
              <a:gd name="T50" fmla="*/ 2147483647 w 220"/>
              <a:gd name="T51" fmla="*/ 2147483647 h 374"/>
              <a:gd name="T52" fmla="*/ 2147483647 w 220"/>
              <a:gd name="T53" fmla="*/ 2147483647 h 374"/>
              <a:gd name="T54" fmla="*/ 0 w 220"/>
              <a:gd name="T55" fmla="*/ 2147483647 h 374"/>
              <a:gd name="T56" fmla="*/ 0 w 220"/>
              <a:gd name="T57" fmla="*/ 2147483647 h 374"/>
              <a:gd name="T58" fmla="*/ 0 w 220"/>
              <a:gd name="T59" fmla="*/ 2147483647 h 374"/>
              <a:gd name="T60" fmla="*/ 0 w 220"/>
              <a:gd name="T61" fmla="*/ 2147483647 h 374"/>
              <a:gd name="T62" fmla="*/ 0 w 220"/>
              <a:gd name="T63" fmla="*/ 2147483647 h 374"/>
              <a:gd name="T64" fmla="*/ 0 w 220"/>
              <a:gd name="T65" fmla="*/ 2147483647 h 37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0"/>
              <a:gd name="T100" fmla="*/ 0 h 374"/>
              <a:gd name="T101" fmla="*/ 220 w 220"/>
              <a:gd name="T102" fmla="*/ 374 h 37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0" h="374">
                <a:moveTo>
                  <a:pt x="0" y="251"/>
                </a:moveTo>
                <a:lnTo>
                  <a:pt x="21" y="234"/>
                </a:lnTo>
                <a:lnTo>
                  <a:pt x="21" y="215"/>
                </a:lnTo>
                <a:lnTo>
                  <a:pt x="40" y="198"/>
                </a:lnTo>
                <a:lnTo>
                  <a:pt x="40" y="179"/>
                </a:lnTo>
                <a:lnTo>
                  <a:pt x="21" y="161"/>
                </a:lnTo>
                <a:lnTo>
                  <a:pt x="21" y="144"/>
                </a:lnTo>
                <a:lnTo>
                  <a:pt x="21" y="125"/>
                </a:lnTo>
                <a:lnTo>
                  <a:pt x="61" y="107"/>
                </a:lnTo>
                <a:lnTo>
                  <a:pt x="80" y="90"/>
                </a:lnTo>
                <a:lnTo>
                  <a:pt x="121" y="71"/>
                </a:lnTo>
                <a:lnTo>
                  <a:pt x="140" y="35"/>
                </a:lnTo>
                <a:lnTo>
                  <a:pt x="161" y="17"/>
                </a:lnTo>
                <a:lnTo>
                  <a:pt x="180" y="17"/>
                </a:lnTo>
                <a:lnTo>
                  <a:pt x="180" y="0"/>
                </a:lnTo>
                <a:lnTo>
                  <a:pt x="201" y="17"/>
                </a:lnTo>
                <a:lnTo>
                  <a:pt x="201" y="54"/>
                </a:lnTo>
                <a:lnTo>
                  <a:pt x="220" y="90"/>
                </a:lnTo>
                <a:lnTo>
                  <a:pt x="220" y="107"/>
                </a:lnTo>
                <a:lnTo>
                  <a:pt x="201" y="90"/>
                </a:lnTo>
                <a:lnTo>
                  <a:pt x="201" y="161"/>
                </a:lnTo>
                <a:lnTo>
                  <a:pt x="180" y="215"/>
                </a:lnTo>
                <a:lnTo>
                  <a:pt x="140" y="269"/>
                </a:lnTo>
                <a:lnTo>
                  <a:pt x="140" y="305"/>
                </a:lnTo>
                <a:lnTo>
                  <a:pt x="99" y="357"/>
                </a:lnTo>
                <a:lnTo>
                  <a:pt x="61" y="374"/>
                </a:lnTo>
                <a:lnTo>
                  <a:pt x="21" y="357"/>
                </a:lnTo>
                <a:lnTo>
                  <a:pt x="0" y="357"/>
                </a:lnTo>
                <a:lnTo>
                  <a:pt x="0" y="322"/>
                </a:lnTo>
                <a:lnTo>
                  <a:pt x="0" y="305"/>
                </a:lnTo>
                <a:lnTo>
                  <a:pt x="0" y="288"/>
                </a:lnTo>
                <a:lnTo>
                  <a:pt x="0" y="269"/>
                </a:lnTo>
                <a:lnTo>
                  <a:pt x="0" y="25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5" name="Freeform 99"/>
          <p:cNvSpPr>
            <a:spLocks/>
          </p:cNvSpPr>
          <p:nvPr/>
        </p:nvSpPr>
        <p:spPr bwMode="gray">
          <a:xfrm>
            <a:off x="3813175" y="3389313"/>
            <a:ext cx="1462088" cy="1509712"/>
          </a:xfrm>
          <a:custGeom>
            <a:avLst/>
            <a:gdLst>
              <a:gd name="T0" fmla="*/ 2147483647 w 2087"/>
              <a:gd name="T1" fmla="*/ 2147483647 h 2094"/>
              <a:gd name="T2" fmla="*/ 2147483647 w 2087"/>
              <a:gd name="T3" fmla="*/ 2147483647 h 2094"/>
              <a:gd name="T4" fmla="*/ 2147483647 w 2087"/>
              <a:gd name="T5" fmla="*/ 2147483647 h 2094"/>
              <a:gd name="T6" fmla="*/ 2147483647 w 2087"/>
              <a:gd name="T7" fmla="*/ 2147483647 h 2094"/>
              <a:gd name="T8" fmla="*/ 2147483647 w 2087"/>
              <a:gd name="T9" fmla="*/ 2147483647 h 2094"/>
              <a:gd name="T10" fmla="*/ 2147483647 w 2087"/>
              <a:gd name="T11" fmla="*/ 2147483647 h 2094"/>
              <a:gd name="T12" fmla="*/ 2147483647 w 2087"/>
              <a:gd name="T13" fmla="*/ 2147483647 h 2094"/>
              <a:gd name="T14" fmla="*/ 2147483647 w 2087"/>
              <a:gd name="T15" fmla="*/ 2147483647 h 2094"/>
              <a:gd name="T16" fmla="*/ 2147483647 w 2087"/>
              <a:gd name="T17" fmla="*/ 2147483647 h 2094"/>
              <a:gd name="T18" fmla="*/ 2147483647 w 2087"/>
              <a:gd name="T19" fmla="*/ 2147483647 h 2094"/>
              <a:gd name="T20" fmla="*/ 2147483647 w 2087"/>
              <a:gd name="T21" fmla="*/ 2147483647 h 2094"/>
              <a:gd name="T22" fmla="*/ 2147483647 w 2087"/>
              <a:gd name="T23" fmla="*/ 2147483647 h 2094"/>
              <a:gd name="T24" fmla="*/ 2147483647 w 2087"/>
              <a:gd name="T25" fmla="*/ 2147483647 h 2094"/>
              <a:gd name="T26" fmla="*/ 2147483647 w 2087"/>
              <a:gd name="T27" fmla="*/ 2147483647 h 2094"/>
              <a:gd name="T28" fmla="*/ 2147483647 w 2087"/>
              <a:gd name="T29" fmla="*/ 2147483647 h 2094"/>
              <a:gd name="T30" fmla="*/ 2147483647 w 2087"/>
              <a:gd name="T31" fmla="*/ 2147483647 h 2094"/>
              <a:gd name="T32" fmla="*/ 2147483647 w 2087"/>
              <a:gd name="T33" fmla="*/ 2147483647 h 2094"/>
              <a:gd name="T34" fmla="*/ 2147483647 w 2087"/>
              <a:gd name="T35" fmla="*/ 2147483647 h 2094"/>
              <a:gd name="T36" fmla="*/ 2147483647 w 2087"/>
              <a:gd name="T37" fmla="*/ 2147483647 h 2094"/>
              <a:gd name="T38" fmla="*/ 2147483647 w 2087"/>
              <a:gd name="T39" fmla="*/ 2147483647 h 2094"/>
              <a:gd name="T40" fmla="*/ 2147483647 w 2087"/>
              <a:gd name="T41" fmla="*/ 2147483647 h 2094"/>
              <a:gd name="T42" fmla="*/ 2147483647 w 2087"/>
              <a:gd name="T43" fmla="*/ 2147483647 h 2094"/>
              <a:gd name="T44" fmla="*/ 2147483647 w 2087"/>
              <a:gd name="T45" fmla="*/ 2147483647 h 2094"/>
              <a:gd name="T46" fmla="*/ 2147483647 w 2087"/>
              <a:gd name="T47" fmla="*/ 2147483647 h 2094"/>
              <a:gd name="T48" fmla="*/ 2147483647 w 2087"/>
              <a:gd name="T49" fmla="*/ 2147483647 h 2094"/>
              <a:gd name="T50" fmla="*/ 2147483647 w 2087"/>
              <a:gd name="T51" fmla="*/ 2147483647 h 2094"/>
              <a:gd name="T52" fmla="*/ 2147483647 w 2087"/>
              <a:gd name="T53" fmla="*/ 2147483647 h 2094"/>
              <a:gd name="T54" fmla="*/ 2147483647 w 2087"/>
              <a:gd name="T55" fmla="*/ 2147483647 h 2094"/>
              <a:gd name="T56" fmla="*/ 2147483647 w 2087"/>
              <a:gd name="T57" fmla="*/ 2147483647 h 2094"/>
              <a:gd name="T58" fmla="*/ 2147483647 w 2087"/>
              <a:gd name="T59" fmla="*/ 2147483647 h 2094"/>
              <a:gd name="T60" fmla="*/ 2147483647 w 2087"/>
              <a:gd name="T61" fmla="*/ 2147483647 h 2094"/>
              <a:gd name="T62" fmla="*/ 2147483647 w 2087"/>
              <a:gd name="T63" fmla="*/ 2147483647 h 2094"/>
              <a:gd name="T64" fmla="*/ 2147483647 w 2087"/>
              <a:gd name="T65" fmla="*/ 2147483647 h 2094"/>
              <a:gd name="T66" fmla="*/ 2147483647 w 2087"/>
              <a:gd name="T67" fmla="*/ 2147483647 h 2094"/>
              <a:gd name="T68" fmla="*/ 2147483647 w 2087"/>
              <a:gd name="T69" fmla="*/ 2147483647 h 2094"/>
              <a:gd name="T70" fmla="*/ 2147483647 w 2087"/>
              <a:gd name="T71" fmla="*/ 2147483647 h 2094"/>
              <a:gd name="T72" fmla="*/ 2147483647 w 2087"/>
              <a:gd name="T73" fmla="*/ 2147483647 h 2094"/>
              <a:gd name="T74" fmla="*/ 2147483647 w 2087"/>
              <a:gd name="T75" fmla="*/ 2147483647 h 2094"/>
              <a:gd name="T76" fmla="*/ 0 w 2087"/>
              <a:gd name="T77" fmla="*/ 2147483647 h 2094"/>
              <a:gd name="T78" fmla="*/ 0 w 2087"/>
              <a:gd name="T79" fmla="*/ 2147483647 h 2094"/>
              <a:gd name="T80" fmla="*/ 0 w 2087"/>
              <a:gd name="T81" fmla="*/ 2147483647 h 2094"/>
              <a:gd name="T82" fmla="*/ 2147483647 w 2087"/>
              <a:gd name="T83" fmla="*/ 2147483647 h 2094"/>
              <a:gd name="T84" fmla="*/ 2147483647 w 2087"/>
              <a:gd name="T85" fmla="*/ 2147483647 h 2094"/>
              <a:gd name="T86" fmla="*/ 2147483647 w 2087"/>
              <a:gd name="T87" fmla="*/ 2147483647 h 2094"/>
              <a:gd name="T88" fmla="*/ 2147483647 w 2087"/>
              <a:gd name="T89" fmla="*/ 2147483647 h 2094"/>
              <a:gd name="T90" fmla="*/ 2147483647 w 2087"/>
              <a:gd name="T91" fmla="*/ 2147483647 h 2094"/>
              <a:gd name="T92" fmla="*/ 2147483647 w 2087"/>
              <a:gd name="T93" fmla="*/ 2147483647 h 2094"/>
              <a:gd name="T94" fmla="*/ 2147483647 w 2087"/>
              <a:gd name="T95" fmla="*/ 2147483647 h 2094"/>
              <a:gd name="T96" fmla="*/ 2147483647 w 2087"/>
              <a:gd name="T97" fmla="*/ 2147483647 h 2094"/>
              <a:gd name="T98" fmla="*/ 2147483647 w 2087"/>
              <a:gd name="T99" fmla="*/ 2147483647 h 2094"/>
              <a:gd name="T100" fmla="*/ 2147483647 w 2087"/>
              <a:gd name="T101" fmla="*/ 2147483647 h 2094"/>
              <a:gd name="T102" fmla="*/ 2147483647 w 2087"/>
              <a:gd name="T103" fmla="*/ 2147483647 h 209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087"/>
              <a:gd name="T157" fmla="*/ 0 h 2094"/>
              <a:gd name="T158" fmla="*/ 2087 w 2087"/>
              <a:gd name="T159" fmla="*/ 2094 h 209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087" h="2094">
                <a:moveTo>
                  <a:pt x="1186" y="161"/>
                </a:moveTo>
                <a:lnTo>
                  <a:pt x="1205" y="161"/>
                </a:lnTo>
                <a:lnTo>
                  <a:pt x="1225" y="161"/>
                </a:lnTo>
                <a:lnTo>
                  <a:pt x="1246" y="181"/>
                </a:lnTo>
                <a:lnTo>
                  <a:pt x="1265" y="181"/>
                </a:lnTo>
                <a:lnTo>
                  <a:pt x="1305" y="198"/>
                </a:lnTo>
                <a:lnTo>
                  <a:pt x="1365" y="215"/>
                </a:lnTo>
                <a:lnTo>
                  <a:pt x="1386" y="215"/>
                </a:lnTo>
                <a:lnTo>
                  <a:pt x="1426" y="215"/>
                </a:lnTo>
                <a:lnTo>
                  <a:pt x="1445" y="198"/>
                </a:lnTo>
                <a:lnTo>
                  <a:pt x="1486" y="198"/>
                </a:lnTo>
                <a:lnTo>
                  <a:pt x="1505" y="198"/>
                </a:lnTo>
                <a:lnTo>
                  <a:pt x="1505" y="215"/>
                </a:lnTo>
                <a:lnTo>
                  <a:pt x="1526" y="215"/>
                </a:lnTo>
                <a:lnTo>
                  <a:pt x="1545" y="215"/>
                </a:lnTo>
                <a:lnTo>
                  <a:pt x="1566" y="215"/>
                </a:lnTo>
                <a:lnTo>
                  <a:pt x="1566" y="198"/>
                </a:lnTo>
                <a:lnTo>
                  <a:pt x="1586" y="215"/>
                </a:lnTo>
                <a:lnTo>
                  <a:pt x="1586" y="234"/>
                </a:lnTo>
                <a:lnTo>
                  <a:pt x="1586" y="252"/>
                </a:lnTo>
                <a:lnTo>
                  <a:pt x="1586" y="269"/>
                </a:lnTo>
                <a:lnTo>
                  <a:pt x="1586" y="288"/>
                </a:lnTo>
                <a:lnTo>
                  <a:pt x="1566" y="305"/>
                </a:lnTo>
                <a:lnTo>
                  <a:pt x="1545" y="288"/>
                </a:lnTo>
                <a:lnTo>
                  <a:pt x="1526" y="269"/>
                </a:lnTo>
                <a:lnTo>
                  <a:pt x="1505" y="234"/>
                </a:lnTo>
                <a:lnTo>
                  <a:pt x="1505" y="252"/>
                </a:lnTo>
                <a:lnTo>
                  <a:pt x="1505" y="269"/>
                </a:lnTo>
                <a:lnTo>
                  <a:pt x="1526" y="305"/>
                </a:lnTo>
                <a:lnTo>
                  <a:pt x="1586" y="376"/>
                </a:lnTo>
                <a:lnTo>
                  <a:pt x="1605" y="430"/>
                </a:lnTo>
                <a:lnTo>
                  <a:pt x="1605" y="447"/>
                </a:lnTo>
                <a:lnTo>
                  <a:pt x="1647" y="467"/>
                </a:lnTo>
                <a:lnTo>
                  <a:pt x="1647" y="501"/>
                </a:lnTo>
                <a:lnTo>
                  <a:pt x="1647" y="520"/>
                </a:lnTo>
                <a:lnTo>
                  <a:pt x="1647" y="538"/>
                </a:lnTo>
                <a:lnTo>
                  <a:pt x="1647" y="555"/>
                </a:lnTo>
                <a:lnTo>
                  <a:pt x="1668" y="574"/>
                </a:lnTo>
                <a:lnTo>
                  <a:pt x="1687" y="574"/>
                </a:lnTo>
                <a:lnTo>
                  <a:pt x="1706" y="591"/>
                </a:lnTo>
                <a:lnTo>
                  <a:pt x="1706" y="628"/>
                </a:lnTo>
                <a:lnTo>
                  <a:pt x="1728" y="664"/>
                </a:lnTo>
                <a:lnTo>
                  <a:pt x="1747" y="682"/>
                </a:lnTo>
                <a:lnTo>
                  <a:pt x="1768" y="682"/>
                </a:lnTo>
                <a:lnTo>
                  <a:pt x="1787" y="682"/>
                </a:lnTo>
                <a:lnTo>
                  <a:pt x="1787" y="699"/>
                </a:lnTo>
                <a:lnTo>
                  <a:pt x="1808" y="733"/>
                </a:lnTo>
                <a:lnTo>
                  <a:pt x="1847" y="751"/>
                </a:lnTo>
                <a:lnTo>
                  <a:pt x="1847" y="770"/>
                </a:lnTo>
                <a:lnTo>
                  <a:pt x="1868" y="787"/>
                </a:lnTo>
                <a:lnTo>
                  <a:pt x="1887" y="787"/>
                </a:lnTo>
                <a:lnTo>
                  <a:pt x="1908" y="787"/>
                </a:lnTo>
                <a:lnTo>
                  <a:pt x="1927" y="787"/>
                </a:lnTo>
                <a:lnTo>
                  <a:pt x="1946" y="787"/>
                </a:lnTo>
                <a:lnTo>
                  <a:pt x="1968" y="787"/>
                </a:lnTo>
                <a:lnTo>
                  <a:pt x="2008" y="770"/>
                </a:lnTo>
                <a:lnTo>
                  <a:pt x="2048" y="770"/>
                </a:lnTo>
                <a:lnTo>
                  <a:pt x="2087" y="770"/>
                </a:lnTo>
                <a:lnTo>
                  <a:pt x="2067" y="824"/>
                </a:lnTo>
                <a:lnTo>
                  <a:pt x="2048" y="877"/>
                </a:lnTo>
                <a:lnTo>
                  <a:pt x="2008" y="914"/>
                </a:lnTo>
                <a:lnTo>
                  <a:pt x="1987" y="968"/>
                </a:lnTo>
                <a:lnTo>
                  <a:pt x="1968" y="1004"/>
                </a:lnTo>
                <a:lnTo>
                  <a:pt x="1927" y="1021"/>
                </a:lnTo>
                <a:lnTo>
                  <a:pt x="1887" y="1056"/>
                </a:lnTo>
                <a:lnTo>
                  <a:pt x="1847" y="1073"/>
                </a:lnTo>
                <a:lnTo>
                  <a:pt x="1808" y="1092"/>
                </a:lnTo>
                <a:lnTo>
                  <a:pt x="1787" y="1146"/>
                </a:lnTo>
                <a:lnTo>
                  <a:pt x="1747" y="1181"/>
                </a:lnTo>
                <a:lnTo>
                  <a:pt x="1728" y="1200"/>
                </a:lnTo>
                <a:lnTo>
                  <a:pt x="1706" y="1217"/>
                </a:lnTo>
                <a:lnTo>
                  <a:pt x="1706" y="1236"/>
                </a:lnTo>
                <a:lnTo>
                  <a:pt x="1706" y="1271"/>
                </a:lnTo>
                <a:lnTo>
                  <a:pt x="1706" y="1290"/>
                </a:lnTo>
                <a:lnTo>
                  <a:pt x="1728" y="1307"/>
                </a:lnTo>
                <a:lnTo>
                  <a:pt x="1728" y="1344"/>
                </a:lnTo>
                <a:lnTo>
                  <a:pt x="1747" y="1361"/>
                </a:lnTo>
                <a:lnTo>
                  <a:pt x="1768" y="1380"/>
                </a:lnTo>
                <a:lnTo>
                  <a:pt x="1768" y="1397"/>
                </a:lnTo>
                <a:lnTo>
                  <a:pt x="1768" y="1413"/>
                </a:lnTo>
                <a:lnTo>
                  <a:pt x="1768" y="1432"/>
                </a:lnTo>
                <a:lnTo>
                  <a:pt x="1747" y="1449"/>
                </a:lnTo>
                <a:lnTo>
                  <a:pt x="1747" y="1486"/>
                </a:lnTo>
                <a:lnTo>
                  <a:pt x="1768" y="1486"/>
                </a:lnTo>
                <a:lnTo>
                  <a:pt x="1768" y="1503"/>
                </a:lnTo>
                <a:lnTo>
                  <a:pt x="1747" y="1539"/>
                </a:lnTo>
                <a:lnTo>
                  <a:pt x="1706" y="1557"/>
                </a:lnTo>
                <a:lnTo>
                  <a:pt x="1668" y="1576"/>
                </a:lnTo>
                <a:lnTo>
                  <a:pt x="1628" y="1593"/>
                </a:lnTo>
                <a:lnTo>
                  <a:pt x="1605" y="1630"/>
                </a:lnTo>
                <a:lnTo>
                  <a:pt x="1586" y="1630"/>
                </a:lnTo>
                <a:lnTo>
                  <a:pt x="1586" y="1647"/>
                </a:lnTo>
                <a:lnTo>
                  <a:pt x="1586" y="1666"/>
                </a:lnTo>
                <a:lnTo>
                  <a:pt x="1586" y="1683"/>
                </a:lnTo>
                <a:lnTo>
                  <a:pt x="1586" y="1701"/>
                </a:lnTo>
                <a:lnTo>
                  <a:pt x="1605" y="1737"/>
                </a:lnTo>
                <a:lnTo>
                  <a:pt x="1586" y="1772"/>
                </a:lnTo>
                <a:lnTo>
                  <a:pt x="1586" y="1789"/>
                </a:lnTo>
                <a:lnTo>
                  <a:pt x="1566" y="1789"/>
                </a:lnTo>
                <a:lnTo>
                  <a:pt x="1545" y="1789"/>
                </a:lnTo>
                <a:lnTo>
                  <a:pt x="1505" y="1806"/>
                </a:lnTo>
                <a:lnTo>
                  <a:pt x="1505" y="1825"/>
                </a:lnTo>
                <a:lnTo>
                  <a:pt x="1505" y="1843"/>
                </a:lnTo>
                <a:lnTo>
                  <a:pt x="1526" y="1862"/>
                </a:lnTo>
                <a:lnTo>
                  <a:pt x="1505" y="1879"/>
                </a:lnTo>
                <a:lnTo>
                  <a:pt x="1505" y="1896"/>
                </a:lnTo>
                <a:lnTo>
                  <a:pt x="1486" y="1916"/>
                </a:lnTo>
                <a:lnTo>
                  <a:pt x="1465" y="1933"/>
                </a:lnTo>
                <a:lnTo>
                  <a:pt x="1445" y="1950"/>
                </a:lnTo>
                <a:lnTo>
                  <a:pt x="1445" y="1969"/>
                </a:lnTo>
                <a:lnTo>
                  <a:pt x="1405" y="2006"/>
                </a:lnTo>
                <a:lnTo>
                  <a:pt x="1386" y="2040"/>
                </a:lnTo>
                <a:lnTo>
                  <a:pt x="1346" y="2060"/>
                </a:lnTo>
                <a:lnTo>
                  <a:pt x="1326" y="2060"/>
                </a:lnTo>
                <a:lnTo>
                  <a:pt x="1305" y="2060"/>
                </a:lnTo>
                <a:lnTo>
                  <a:pt x="1305" y="2077"/>
                </a:lnTo>
                <a:lnTo>
                  <a:pt x="1286" y="2077"/>
                </a:lnTo>
                <a:lnTo>
                  <a:pt x="1265" y="2077"/>
                </a:lnTo>
                <a:lnTo>
                  <a:pt x="1246" y="2077"/>
                </a:lnTo>
                <a:lnTo>
                  <a:pt x="1186" y="2077"/>
                </a:lnTo>
                <a:lnTo>
                  <a:pt x="1165" y="2094"/>
                </a:lnTo>
                <a:lnTo>
                  <a:pt x="1123" y="2094"/>
                </a:lnTo>
                <a:lnTo>
                  <a:pt x="1104" y="2094"/>
                </a:lnTo>
                <a:lnTo>
                  <a:pt x="1104" y="2077"/>
                </a:lnTo>
                <a:lnTo>
                  <a:pt x="1104" y="2094"/>
                </a:lnTo>
                <a:lnTo>
                  <a:pt x="1104" y="2060"/>
                </a:lnTo>
                <a:lnTo>
                  <a:pt x="1083" y="2040"/>
                </a:lnTo>
                <a:lnTo>
                  <a:pt x="1063" y="2040"/>
                </a:lnTo>
                <a:lnTo>
                  <a:pt x="1083" y="2040"/>
                </a:lnTo>
                <a:lnTo>
                  <a:pt x="1083" y="2023"/>
                </a:lnTo>
                <a:lnTo>
                  <a:pt x="1083" y="2006"/>
                </a:lnTo>
                <a:lnTo>
                  <a:pt x="1083" y="1987"/>
                </a:lnTo>
                <a:lnTo>
                  <a:pt x="1063" y="1969"/>
                </a:lnTo>
                <a:lnTo>
                  <a:pt x="1063" y="1950"/>
                </a:lnTo>
                <a:lnTo>
                  <a:pt x="1023" y="1916"/>
                </a:lnTo>
                <a:lnTo>
                  <a:pt x="1004" y="1862"/>
                </a:lnTo>
                <a:lnTo>
                  <a:pt x="983" y="1806"/>
                </a:lnTo>
                <a:lnTo>
                  <a:pt x="964" y="1754"/>
                </a:lnTo>
                <a:lnTo>
                  <a:pt x="964" y="1737"/>
                </a:lnTo>
                <a:lnTo>
                  <a:pt x="964" y="1720"/>
                </a:lnTo>
                <a:lnTo>
                  <a:pt x="944" y="1701"/>
                </a:lnTo>
                <a:lnTo>
                  <a:pt x="944" y="1683"/>
                </a:lnTo>
                <a:lnTo>
                  <a:pt x="923" y="1647"/>
                </a:lnTo>
                <a:lnTo>
                  <a:pt x="883" y="1611"/>
                </a:lnTo>
                <a:lnTo>
                  <a:pt x="883" y="1557"/>
                </a:lnTo>
                <a:lnTo>
                  <a:pt x="904" y="1503"/>
                </a:lnTo>
                <a:lnTo>
                  <a:pt x="923" y="1449"/>
                </a:lnTo>
                <a:lnTo>
                  <a:pt x="944" y="1413"/>
                </a:lnTo>
                <a:lnTo>
                  <a:pt x="944" y="1380"/>
                </a:lnTo>
                <a:lnTo>
                  <a:pt x="923" y="1361"/>
                </a:lnTo>
                <a:lnTo>
                  <a:pt x="923" y="1325"/>
                </a:lnTo>
                <a:lnTo>
                  <a:pt x="923" y="1307"/>
                </a:lnTo>
                <a:lnTo>
                  <a:pt x="904" y="1271"/>
                </a:lnTo>
                <a:lnTo>
                  <a:pt x="904" y="1236"/>
                </a:lnTo>
                <a:lnTo>
                  <a:pt x="883" y="1217"/>
                </a:lnTo>
                <a:lnTo>
                  <a:pt x="864" y="1181"/>
                </a:lnTo>
                <a:lnTo>
                  <a:pt x="804" y="1146"/>
                </a:lnTo>
                <a:lnTo>
                  <a:pt x="804" y="1110"/>
                </a:lnTo>
                <a:lnTo>
                  <a:pt x="804" y="1092"/>
                </a:lnTo>
                <a:lnTo>
                  <a:pt x="804" y="1073"/>
                </a:lnTo>
                <a:lnTo>
                  <a:pt x="823" y="1073"/>
                </a:lnTo>
                <a:lnTo>
                  <a:pt x="823" y="1056"/>
                </a:lnTo>
                <a:lnTo>
                  <a:pt x="823" y="1039"/>
                </a:lnTo>
                <a:lnTo>
                  <a:pt x="823" y="1021"/>
                </a:lnTo>
                <a:lnTo>
                  <a:pt x="843" y="1004"/>
                </a:lnTo>
                <a:lnTo>
                  <a:pt x="823" y="985"/>
                </a:lnTo>
                <a:lnTo>
                  <a:pt x="804" y="968"/>
                </a:lnTo>
                <a:lnTo>
                  <a:pt x="764" y="968"/>
                </a:lnTo>
                <a:lnTo>
                  <a:pt x="743" y="968"/>
                </a:lnTo>
                <a:lnTo>
                  <a:pt x="724" y="968"/>
                </a:lnTo>
                <a:lnTo>
                  <a:pt x="704" y="950"/>
                </a:lnTo>
                <a:lnTo>
                  <a:pt x="664" y="914"/>
                </a:lnTo>
                <a:lnTo>
                  <a:pt x="641" y="914"/>
                </a:lnTo>
                <a:lnTo>
                  <a:pt x="582" y="914"/>
                </a:lnTo>
                <a:lnTo>
                  <a:pt x="541" y="931"/>
                </a:lnTo>
                <a:lnTo>
                  <a:pt x="501" y="950"/>
                </a:lnTo>
                <a:lnTo>
                  <a:pt x="482" y="950"/>
                </a:lnTo>
                <a:lnTo>
                  <a:pt x="463" y="968"/>
                </a:lnTo>
                <a:lnTo>
                  <a:pt x="441" y="968"/>
                </a:lnTo>
                <a:lnTo>
                  <a:pt x="422" y="950"/>
                </a:lnTo>
                <a:lnTo>
                  <a:pt x="401" y="950"/>
                </a:lnTo>
                <a:lnTo>
                  <a:pt x="361" y="950"/>
                </a:lnTo>
                <a:lnTo>
                  <a:pt x="322" y="968"/>
                </a:lnTo>
                <a:lnTo>
                  <a:pt x="282" y="968"/>
                </a:lnTo>
                <a:lnTo>
                  <a:pt x="261" y="968"/>
                </a:lnTo>
                <a:lnTo>
                  <a:pt x="223" y="931"/>
                </a:lnTo>
                <a:lnTo>
                  <a:pt x="182" y="914"/>
                </a:lnTo>
                <a:lnTo>
                  <a:pt x="140" y="860"/>
                </a:lnTo>
                <a:lnTo>
                  <a:pt x="119" y="841"/>
                </a:lnTo>
                <a:lnTo>
                  <a:pt x="119" y="824"/>
                </a:lnTo>
                <a:lnTo>
                  <a:pt x="81" y="787"/>
                </a:lnTo>
                <a:lnTo>
                  <a:pt x="59" y="787"/>
                </a:lnTo>
                <a:lnTo>
                  <a:pt x="40" y="770"/>
                </a:lnTo>
                <a:lnTo>
                  <a:pt x="19" y="751"/>
                </a:lnTo>
                <a:lnTo>
                  <a:pt x="0" y="751"/>
                </a:lnTo>
                <a:lnTo>
                  <a:pt x="0" y="733"/>
                </a:lnTo>
                <a:lnTo>
                  <a:pt x="0" y="716"/>
                </a:lnTo>
                <a:lnTo>
                  <a:pt x="0" y="699"/>
                </a:lnTo>
                <a:lnTo>
                  <a:pt x="0" y="682"/>
                </a:lnTo>
                <a:lnTo>
                  <a:pt x="0" y="664"/>
                </a:lnTo>
                <a:lnTo>
                  <a:pt x="19" y="628"/>
                </a:lnTo>
                <a:lnTo>
                  <a:pt x="40" y="591"/>
                </a:lnTo>
                <a:lnTo>
                  <a:pt x="19" y="574"/>
                </a:lnTo>
                <a:lnTo>
                  <a:pt x="19" y="520"/>
                </a:lnTo>
                <a:lnTo>
                  <a:pt x="0" y="484"/>
                </a:lnTo>
                <a:lnTo>
                  <a:pt x="19" y="467"/>
                </a:lnTo>
                <a:lnTo>
                  <a:pt x="40" y="447"/>
                </a:lnTo>
                <a:lnTo>
                  <a:pt x="59" y="394"/>
                </a:lnTo>
                <a:lnTo>
                  <a:pt x="81" y="357"/>
                </a:lnTo>
                <a:lnTo>
                  <a:pt x="119" y="325"/>
                </a:lnTo>
                <a:lnTo>
                  <a:pt x="119" y="305"/>
                </a:lnTo>
                <a:lnTo>
                  <a:pt x="159" y="305"/>
                </a:lnTo>
                <a:lnTo>
                  <a:pt x="182" y="288"/>
                </a:lnTo>
                <a:lnTo>
                  <a:pt x="201" y="269"/>
                </a:lnTo>
                <a:lnTo>
                  <a:pt x="223" y="269"/>
                </a:lnTo>
                <a:lnTo>
                  <a:pt x="223" y="252"/>
                </a:lnTo>
                <a:lnTo>
                  <a:pt x="242" y="215"/>
                </a:lnTo>
                <a:lnTo>
                  <a:pt x="242" y="198"/>
                </a:lnTo>
                <a:lnTo>
                  <a:pt x="261" y="181"/>
                </a:lnTo>
                <a:lnTo>
                  <a:pt x="282" y="144"/>
                </a:lnTo>
                <a:lnTo>
                  <a:pt x="322" y="108"/>
                </a:lnTo>
                <a:lnTo>
                  <a:pt x="342" y="90"/>
                </a:lnTo>
                <a:lnTo>
                  <a:pt x="322" y="90"/>
                </a:lnTo>
                <a:lnTo>
                  <a:pt x="342" y="71"/>
                </a:lnTo>
                <a:lnTo>
                  <a:pt x="361" y="54"/>
                </a:lnTo>
                <a:lnTo>
                  <a:pt x="401" y="71"/>
                </a:lnTo>
                <a:lnTo>
                  <a:pt x="422" y="90"/>
                </a:lnTo>
                <a:lnTo>
                  <a:pt x="463" y="90"/>
                </a:lnTo>
                <a:lnTo>
                  <a:pt x="463" y="71"/>
                </a:lnTo>
                <a:lnTo>
                  <a:pt x="482" y="71"/>
                </a:lnTo>
                <a:lnTo>
                  <a:pt x="501" y="54"/>
                </a:lnTo>
                <a:lnTo>
                  <a:pt x="541" y="37"/>
                </a:lnTo>
                <a:lnTo>
                  <a:pt x="601" y="37"/>
                </a:lnTo>
                <a:lnTo>
                  <a:pt x="664" y="17"/>
                </a:lnTo>
                <a:lnTo>
                  <a:pt x="683" y="17"/>
                </a:lnTo>
                <a:lnTo>
                  <a:pt x="704" y="37"/>
                </a:lnTo>
                <a:lnTo>
                  <a:pt x="724" y="37"/>
                </a:lnTo>
                <a:lnTo>
                  <a:pt x="724" y="17"/>
                </a:lnTo>
                <a:lnTo>
                  <a:pt x="743" y="17"/>
                </a:lnTo>
                <a:lnTo>
                  <a:pt x="764" y="17"/>
                </a:lnTo>
                <a:lnTo>
                  <a:pt x="783" y="17"/>
                </a:lnTo>
                <a:lnTo>
                  <a:pt x="804" y="17"/>
                </a:lnTo>
                <a:lnTo>
                  <a:pt x="804" y="0"/>
                </a:lnTo>
                <a:lnTo>
                  <a:pt x="823" y="0"/>
                </a:lnTo>
                <a:lnTo>
                  <a:pt x="843" y="17"/>
                </a:lnTo>
                <a:lnTo>
                  <a:pt x="864" y="17"/>
                </a:lnTo>
                <a:lnTo>
                  <a:pt x="864" y="37"/>
                </a:lnTo>
                <a:lnTo>
                  <a:pt x="864" y="54"/>
                </a:lnTo>
                <a:lnTo>
                  <a:pt x="864" y="71"/>
                </a:lnTo>
                <a:lnTo>
                  <a:pt x="864" y="90"/>
                </a:lnTo>
                <a:lnTo>
                  <a:pt x="864" y="125"/>
                </a:lnTo>
                <a:lnTo>
                  <a:pt x="883" y="144"/>
                </a:lnTo>
                <a:lnTo>
                  <a:pt x="904" y="144"/>
                </a:lnTo>
                <a:lnTo>
                  <a:pt x="923" y="144"/>
                </a:lnTo>
                <a:lnTo>
                  <a:pt x="983" y="161"/>
                </a:lnTo>
                <a:lnTo>
                  <a:pt x="1023" y="181"/>
                </a:lnTo>
                <a:lnTo>
                  <a:pt x="1063" y="215"/>
                </a:lnTo>
                <a:lnTo>
                  <a:pt x="1104" y="215"/>
                </a:lnTo>
                <a:lnTo>
                  <a:pt x="1104" y="198"/>
                </a:lnTo>
                <a:lnTo>
                  <a:pt x="1123" y="161"/>
                </a:lnTo>
                <a:lnTo>
                  <a:pt x="1146" y="161"/>
                </a:lnTo>
                <a:lnTo>
                  <a:pt x="1186" y="16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6" name="Freeform 100"/>
          <p:cNvSpPr>
            <a:spLocks/>
          </p:cNvSpPr>
          <p:nvPr/>
        </p:nvSpPr>
        <p:spPr bwMode="gray">
          <a:xfrm>
            <a:off x="4729163" y="3287713"/>
            <a:ext cx="814387" cy="642937"/>
          </a:xfrm>
          <a:custGeom>
            <a:avLst/>
            <a:gdLst>
              <a:gd name="T0" fmla="*/ 2147483647 w 1164"/>
              <a:gd name="T1" fmla="*/ 2147483647 h 893"/>
              <a:gd name="T2" fmla="*/ 2147483647 w 1164"/>
              <a:gd name="T3" fmla="*/ 2147483647 h 893"/>
              <a:gd name="T4" fmla="*/ 2147483647 w 1164"/>
              <a:gd name="T5" fmla="*/ 2147483647 h 893"/>
              <a:gd name="T6" fmla="*/ 2147483647 w 1164"/>
              <a:gd name="T7" fmla="*/ 2147483647 h 893"/>
              <a:gd name="T8" fmla="*/ 2147483647 w 1164"/>
              <a:gd name="T9" fmla="*/ 2147483647 h 893"/>
              <a:gd name="T10" fmla="*/ 2147483647 w 1164"/>
              <a:gd name="T11" fmla="*/ 2147483647 h 893"/>
              <a:gd name="T12" fmla="*/ 2147483647 w 1164"/>
              <a:gd name="T13" fmla="*/ 2147483647 h 893"/>
              <a:gd name="T14" fmla="*/ 2147483647 w 1164"/>
              <a:gd name="T15" fmla="*/ 2147483647 h 893"/>
              <a:gd name="T16" fmla="*/ 2147483647 w 1164"/>
              <a:gd name="T17" fmla="*/ 2147483647 h 893"/>
              <a:gd name="T18" fmla="*/ 2147483647 w 1164"/>
              <a:gd name="T19" fmla="*/ 2147483647 h 893"/>
              <a:gd name="T20" fmla="*/ 2147483647 w 1164"/>
              <a:gd name="T21" fmla="*/ 2147483647 h 893"/>
              <a:gd name="T22" fmla="*/ 2147483647 w 1164"/>
              <a:gd name="T23" fmla="*/ 0 h 893"/>
              <a:gd name="T24" fmla="*/ 2147483647 w 1164"/>
              <a:gd name="T25" fmla="*/ 2147483647 h 893"/>
              <a:gd name="T26" fmla="*/ 2147483647 w 1164"/>
              <a:gd name="T27" fmla="*/ 2147483647 h 893"/>
              <a:gd name="T28" fmla="*/ 2147483647 w 1164"/>
              <a:gd name="T29" fmla="*/ 0 h 893"/>
              <a:gd name="T30" fmla="*/ 2147483647 w 1164"/>
              <a:gd name="T31" fmla="*/ 2147483647 h 893"/>
              <a:gd name="T32" fmla="*/ 2147483647 w 1164"/>
              <a:gd name="T33" fmla="*/ 2147483647 h 893"/>
              <a:gd name="T34" fmla="*/ 2147483647 w 1164"/>
              <a:gd name="T35" fmla="*/ 2147483647 h 893"/>
              <a:gd name="T36" fmla="*/ 2147483647 w 1164"/>
              <a:gd name="T37" fmla="*/ 2147483647 h 893"/>
              <a:gd name="T38" fmla="*/ 2147483647 w 1164"/>
              <a:gd name="T39" fmla="*/ 2147483647 h 893"/>
              <a:gd name="T40" fmla="*/ 2147483647 w 1164"/>
              <a:gd name="T41" fmla="*/ 2147483647 h 893"/>
              <a:gd name="T42" fmla="*/ 2147483647 w 1164"/>
              <a:gd name="T43" fmla="*/ 2147483647 h 893"/>
              <a:gd name="T44" fmla="*/ 2147483647 w 1164"/>
              <a:gd name="T45" fmla="*/ 2147483647 h 893"/>
              <a:gd name="T46" fmla="*/ 2147483647 w 1164"/>
              <a:gd name="T47" fmla="*/ 2147483647 h 893"/>
              <a:gd name="T48" fmla="*/ 2147483647 w 1164"/>
              <a:gd name="T49" fmla="*/ 2147483647 h 893"/>
              <a:gd name="T50" fmla="*/ 2147483647 w 1164"/>
              <a:gd name="T51" fmla="*/ 2147483647 h 893"/>
              <a:gd name="T52" fmla="*/ 2147483647 w 1164"/>
              <a:gd name="T53" fmla="*/ 2147483647 h 893"/>
              <a:gd name="T54" fmla="*/ 2147483647 w 1164"/>
              <a:gd name="T55" fmla="*/ 2147483647 h 893"/>
              <a:gd name="T56" fmla="*/ 2147483647 w 1164"/>
              <a:gd name="T57" fmla="*/ 2147483647 h 893"/>
              <a:gd name="T58" fmla="*/ 2147483647 w 1164"/>
              <a:gd name="T59" fmla="*/ 2147483647 h 893"/>
              <a:gd name="T60" fmla="*/ 2147483647 w 1164"/>
              <a:gd name="T61" fmla="*/ 2147483647 h 893"/>
              <a:gd name="T62" fmla="*/ 2147483647 w 1164"/>
              <a:gd name="T63" fmla="*/ 2147483647 h 893"/>
              <a:gd name="T64" fmla="*/ 2147483647 w 1164"/>
              <a:gd name="T65" fmla="*/ 2147483647 h 893"/>
              <a:gd name="T66" fmla="*/ 2147483647 w 1164"/>
              <a:gd name="T67" fmla="*/ 2147483647 h 893"/>
              <a:gd name="T68" fmla="*/ 2147483647 w 1164"/>
              <a:gd name="T69" fmla="*/ 2147483647 h 893"/>
              <a:gd name="T70" fmla="*/ 2147483647 w 1164"/>
              <a:gd name="T71" fmla="*/ 2147483647 h 893"/>
              <a:gd name="T72" fmla="*/ 2147483647 w 1164"/>
              <a:gd name="T73" fmla="*/ 2147483647 h 893"/>
              <a:gd name="T74" fmla="*/ 2147483647 w 1164"/>
              <a:gd name="T75" fmla="*/ 2147483647 h 893"/>
              <a:gd name="T76" fmla="*/ 2147483647 w 1164"/>
              <a:gd name="T77" fmla="*/ 2147483647 h 893"/>
              <a:gd name="T78" fmla="*/ 2147483647 w 1164"/>
              <a:gd name="T79" fmla="*/ 2147483647 h 893"/>
              <a:gd name="T80" fmla="*/ 2147483647 w 1164"/>
              <a:gd name="T81" fmla="*/ 2147483647 h 893"/>
              <a:gd name="T82" fmla="*/ 2147483647 w 1164"/>
              <a:gd name="T83" fmla="*/ 2147483647 h 893"/>
              <a:gd name="T84" fmla="*/ 2147483647 w 1164"/>
              <a:gd name="T85" fmla="*/ 2147483647 h 893"/>
              <a:gd name="T86" fmla="*/ 2147483647 w 1164"/>
              <a:gd name="T87" fmla="*/ 2147483647 h 893"/>
              <a:gd name="T88" fmla="*/ 2147483647 w 1164"/>
              <a:gd name="T89" fmla="*/ 2147483647 h 893"/>
              <a:gd name="T90" fmla="*/ 2147483647 w 1164"/>
              <a:gd name="T91" fmla="*/ 2147483647 h 893"/>
              <a:gd name="T92" fmla="*/ 2147483647 w 1164"/>
              <a:gd name="T93" fmla="*/ 2147483647 h 893"/>
              <a:gd name="T94" fmla="*/ 2147483647 w 1164"/>
              <a:gd name="T95" fmla="*/ 2147483647 h 893"/>
              <a:gd name="T96" fmla="*/ 2147483647 w 1164"/>
              <a:gd name="T97" fmla="*/ 2147483647 h 893"/>
              <a:gd name="T98" fmla="*/ 2147483647 w 1164"/>
              <a:gd name="T99" fmla="*/ 2147483647 h 893"/>
              <a:gd name="T100" fmla="*/ 2147483647 w 1164"/>
              <a:gd name="T101" fmla="*/ 2147483647 h 893"/>
              <a:gd name="T102" fmla="*/ 2147483647 w 1164"/>
              <a:gd name="T103" fmla="*/ 2147483647 h 893"/>
              <a:gd name="T104" fmla="*/ 2147483647 w 1164"/>
              <a:gd name="T105" fmla="*/ 2147483647 h 893"/>
              <a:gd name="T106" fmla="*/ 2147483647 w 1164"/>
              <a:gd name="T107" fmla="*/ 2147483647 h 893"/>
              <a:gd name="T108" fmla="*/ 2147483647 w 1164"/>
              <a:gd name="T109" fmla="*/ 2147483647 h 89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64"/>
              <a:gd name="T166" fmla="*/ 0 h 893"/>
              <a:gd name="T167" fmla="*/ 1164 w 1164"/>
              <a:gd name="T168" fmla="*/ 893 h 89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64" h="893">
                <a:moveTo>
                  <a:pt x="281" y="394"/>
                </a:moveTo>
                <a:lnTo>
                  <a:pt x="281" y="376"/>
                </a:lnTo>
                <a:lnTo>
                  <a:pt x="261" y="357"/>
                </a:lnTo>
                <a:lnTo>
                  <a:pt x="261" y="340"/>
                </a:lnTo>
                <a:lnTo>
                  <a:pt x="261" y="323"/>
                </a:lnTo>
                <a:lnTo>
                  <a:pt x="281" y="323"/>
                </a:lnTo>
                <a:lnTo>
                  <a:pt x="281" y="303"/>
                </a:lnTo>
                <a:lnTo>
                  <a:pt x="281" y="267"/>
                </a:lnTo>
                <a:lnTo>
                  <a:pt x="281" y="250"/>
                </a:lnTo>
                <a:lnTo>
                  <a:pt x="300" y="232"/>
                </a:lnTo>
                <a:lnTo>
                  <a:pt x="323" y="232"/>
                </a:lnTo>
                <a:lnTo>
                  <a:pt x="323" y="213"/>
                </a:lnTo>
                <a:lnTo>
                  <a:pt x="300" y="196"/>
                </a:lnTo>
                <a:lnTo>
                  <a:pt x="300" y="179"/>
                </a:lnTo>
                <a:lnTo>
                  <a:pt x="323" y="179"/>
                </a:lnTo>
                <a:lnTo>
                  <a:pt x="300" y="179"/>
                </a:lnTo>
                <a:lnTo>
                  <a:pt x="281" y="179"/>
                </a:lnTo>
                <a:lnTo>
                  <a:pt x="261" y="179"/>
                </a:lnTo>
                <a:lnTo>
                  <a:pt x="240" y="179"/>
                </a:lnTo>
                <a:lnTo>
                  <a:pt x="200" y="179"/>
                </a:lnTo>
                <a:lnTo>
                  <a:pt x="181" y="179"/>
                </a:lnTo>
                <a:lnTo>
                  <a:pt x="160" y="179"/>
                </a:lnTo>
                <a:lnTo>
                  <a:pt x="140" y="179"/>
                </a:lnTo>
                <a:lnTo>
                  <a:pt x="121" y="179"/>
                </a:lnTo>
                <a:lnTo>
                  <a:pt x="100" y="179"/>
                </a:lnTo>
                <a:lnTo>
                  <a:pt x="81" y="179"/>
                </a:lnTo>
                <a:lnTo>
                  <a:pt x="60" y="179"/>
                </a:lnTo>
                <a:lnTo>
                  <a:pt x="81" y="179"/>
                </a:lnTo>
                <a:lnTo>
                  <a:pt x="60" y="159"/>
                </a:lnTo>
                <a:lnTo>
                  <a:pt x="41" y="142"/>
                </a:lnTo>
                <a:lnTo>
                  <a:pt x="41" y="125"/>
                </a:lnTo>
                <a:lnTo>
                  <a:pt x="21" y="125"/>
                </a:lnTo>
                <a:lnTo>
                  <a:pt x="0" y="125"/>
                </a:lnTo>
                <a:lnTo>
                  <a:pt x="21" y="108"/>
                </a:lnTo>
                <a:lnTo>
                  <a:pt x="21" y="90"/>
                </a:lnTo>
                <a:lnTo>
                  <a:pt x="21" y="71"/>
                </a:lnTo>
                <a:lnTo>
                  <a:pt x="0" y="71"/>
                </a:lnTo>
                <a:lnTo>
                  <a:pt x="21" y="54"/>
                </a:lnTo>
                <a:lnTo>
                  <a:pt x="81" y="54"/>
                </a:lnTo>
                <a:lnTo>
                  <a:pt x="100" y="37"/>
                </a:lnTo>
                <a:lnTo>
                  <a:pt x="100" y="17"/>
                </a:lnTo>
                <a:lnTo>
                  <a:pt x="121" y="17"/>
                </a:lnTo>
                <a:lnTo>
                  <a:pt x="140" y="17"/>
                </a:lnTo>
                <a:lnTo>
                  <a:pt x="160" y="17"/>
                </a:lnTo>
                <a:lnTo>
                  <a:pt x="181" y="17"/>
                </a:lnTo>
                <a:lnTo>
                  <a:pt x="200" y="0"/>
                </a:lnTo>
                <a:lnTo>
                  <a:pt x="221" y="0"/>
                </a:lnTo>
                <a:lnTo>
                  <a:pt x="240" y="0"/>
                </a:lnTo>
                <a:lnTo>
                  <a:pt x="281" y="0"/>
                </a:lnTo>
                <a:lnTo>
                  <a:pt x="300" y="0"/>
                </a:lnTo>
                <a:lnTo>
                  <a:pt x="323" y="0"/>
                </a:lnTo>
                <a:lnTo>
                  <a:pt x="342" y="17"/>
                </a:lnTo>
                <a:lnTo>
                  <a:pt x="342" y="37"/>
                </a:lnTo>
                <a:lnTo>
                  <a:pt x="382" y="37"/>
                </a:lnTo>
                <a:lnTo>
                  <a:pt x="401" y="37"/>
                </a:lnTo>
                <a:lnTo>
                  <a:pt x="423" y="37"/>
                </a:lnTo>
                <a:lnTo>
                  <a:pt x="442" y="37"/>
                </a:lnTo>
                <a:lnTo>
                  <a:pt x="463" y="17"/>
                </a:lnTo>
                <a:lnTo>
                  <a:pt x="482" y="0"/>
                </a:lnTo>
                <a:lnTo>
                  <a:pt x="522" y="0"/>
                </a:lnTo>
                <a:lnTo>
                  <a:pt x="542" y="0"/>
                </a:lnTo>
                <a:lnTo>
                  <a:pt x="542" y="17"/>
                </a:lnTo>
                <a:lnTo>
                  <a:pt x="563" y="54"/>
                </a:lnTo>
                <a:lnTo>
                  <a:pt x="582" y="54"/>
                </a:lnTo>
                <a:lnTo>
                  <a:pt x="603" y="71"/>
                </a:lnTo>
                <a:lnTo>
                  <a:pt x="603" y="90"/>
                </a:lnTo>
                <a:lnTo>
                  <a:pt x="641" y="90"/>
                </a:lnTo>
                <a:lnTo>
                  <a:pt x="663" y="90"/>
                </a:lnTo>
                <a:lnTo>
                  <a:pt x="682" y="71"/>
                </a:lnTo>
                <a:lnTo>
                  <a:pt x="682" y="54"/>
                </a:lnTo>
                <a:lnTo>
                  <a:pt x="682" y="71"/>
                </a:lnTo>
                <a:lnTo>
                  <a:pt x="703" y="71"/>
                </a:lnTo>
                <a:lnTo>
                  <a:pt x="703" y="90"/>
                </a:lnTo>
                <a:lnTo>
                  <a:pt x="703" y="108"/>
                </a:lnTo>
                <a:lnTo>
                  <a:pt x="722" y="108"/>
                </a:lnTo>
                <a:lnTo>
                  <a:pt x="722" y="125"/>
                </a:lnTo>
                <a:lnTo>
                  <a:pt x="722" y="142"/>
                </a:lnTo>
                <a:lnTo>
                  <a:pt x="743" y="142"/>
                </a:lnTo>
                <a:lnTo>
                  <a:pt x="762" y="142"/>
                </a:lnTo>
                <a:lnTo>
                  <a:pt x="762" y="159"/>
                </a:lnTo>
                <a:lnTo>
                  <a:pt x="782" y="179"/>
                </a:lnTo>
                <a:lnTo>
                  <a:pt x="805" y="179"/>
                </a:lnTo>
                <a:lnTo>
                  <a:pt x="824" y="179"/>
                </a:lnTo>
                <a:lnTo>
                  <a:pt x="845" y="179"/>
                </a:lnTo>
                <a:lnTo>
                  <a:pt x="864" y="179"/>
                </a:lnTo>
                <a:lnTo>
                  <a:pt x="885" y="159"/>
                </a:lnTo>
                <a:lnTo>
                  <a:pt x="885" y="142"/>
                </a:lnTo>
                <a:lnTo>
                  <a:pt x="885" y="125"/>
                </a:lnTo>
                <a:lnTo>
                  <a:pt x="904" y="125"/>
                </a:lnTo>
                <a:lnTo>
                  <a:pt x="924" y="125"/>
                </a:lnTo>
                <a:lnTo>
                  <a:pt x="945" y="125"/>
                </a:lnTo>
                <a:lnTo>
                  <a:pt x="964" y="108"/>
                </a:lnTo>
                <a:lnTo>
                  <a:pt x="985" y="125"/>
                </a:lnTo>
                <a:lnTo>
                  <a:pt x="1004" y="125"/>
                </a:lnTo>
                <a:lnTo>
                  <a:pt x="1023" y="125"/>
                </a:lnTo>
                <a:lnTo>
                  <a:pt x="1045" y="142"/>
                </a:lnTo>
                <a:lnTo>
                  <a:pt x="1085" y="159"/>
                </a:lnTo>
                <a:lnTo>
                  <a:pt x="1104" y="179"/>
                </a:lnTo>
                <a:lnTo>
                  <a:pt x="1104" y="196"/>
                </a:lnTo>
                <a:lnTo>
                  <a:pt x="1104" y="213"/>
                </a:lnTo>
                <a:lnTo>
                  <a:pt x="1085" y="232"/>
                </a:lnTo>
                <a:lnTo>
                  <a:pt x="1085" y="250"/>
                </a:lnTo>
                <a:lnTo>
                  <a:pt x="1085" y="267"/>
                </a:lnTo>
                <a:lnTo>
                  <a:pt x="1085" y="286"/>
                </a:lnTo>
                <a:lnTo>
                  <a:pt x="1085" y="303"/>
                </a:lnTo>
                <a:lnTo>
                  <a:pt x="1085" y="323"/>
                </a:lnTo>
                <a:lnTo>
                  <a:pt x="1104" y="323"/>
                </a:lnTo>
                <a:lnTo>
                  <a:pt x="1104" y="340"/>
                </a:lnTo>
                <a:lnTo>
                  <a:pt x="1125" y="340"/>
                </a:lnTo>
                <a:lnTo>
                  <a:pt x="1104" y="357"/>
                </a:lnTo>
                <a:lnTo>
                  <a:pt x="1085" y="376"/>
                </a:lnTo>
                <a:lnTo>
                  <a:pt x="1104" y="394"/>
                </a:lnTo>
                <a:lnTo>
                  <a:pt x="1144" y="411"/>
                </a:lnTo>
                <a:lnTo>
                  <a:pt x="1144" y="430"/>
                </a:lnTo>
                <a:lnTo>
                  <a:pt x="1164" y="484"/>
                </a:lnTo>
                <a:lnTo>
                  <a:pt x="1144" y="484"/>
                </a:lnTo>
                <a:lnTo>
                  <a:pt x="1125" y="484"/>
                </a:lnTo>
                <a:lnTo>
                  <a:pt x="1125" y="518"/>
                </a:lnTo>
                <a:lnTo>
                  <a:pt x="1125" y="536"/>
                </a:lnTo>
                <a:lnTo>
                  <a:pt x="1085" y="536"/>
                </a:lnTo>
                <a:lnTo>
                  <a:pt x="1045" y="518"/>
                </a:lnTo>
                <a:lnTo>
                  <a:pt x="1004" y="518"/>
                </a:lnTo>
                <a:lnTo>
                  <a:pt x="985" y="499"/>
                </a:lnTo>
                <a:lnTo>
                  <a:pt x="964" y="484"/>
                </a:lnTo>
                <a:lnTo>
                  <a:pt x="945" y="467"/>
                </a:lnTo>
                <a:lnTo>
                  <a:pt x="945" y="484"/>
                </a:lnTo>
                <a:lnTo>
                  <a:pt x="924" y="484"/>
                </a:lnTo>
                <a:lnTo>
                  <a:pt x="904" y="484"/>
                </a:lnTo>
                <a:lnTo>
                  <a:pt x="885" y="484"/>
                </a:lnTo>
                <a:lnTo>
                  <a:pt x="864" y="484"/>
                </a:lnTo>
                <a:lnTo>
                  <a:pt x="845" y="467"/>
                </a:lnTo>
                <a:lnTo>
                  <a:pt x="824" y="467"/>
                </a:lnTo>
                <a:lnTo>
                  <a:pt x="805" y="447"/>
                </a:lnTo>
                <a:lnTo>
                  <a:pt x="782" y="430"/>
                </a:lnTo>
                <a:lnTo>
                  <a:pt x="782" y="411"/>
                </a:lnTo>
                <a:lnTo>
                  <a:pt x="762" y="394"/>
                </a:lnTo>
                <a:lnTo>
                  <a:pt x="743" y="376"/>
                </a:lnTo>
                <a:lnTo>
                  <a:pt x="722" y="357"/>
                </a:lnTo>
                <a:lnTo>
                  <a:pt x="703" y="376"/>
                </a:lnTo>
                <a:lnTo>
                  <a:pt x="682" y="394"/>
                </a:lnTo>
                <a:lnTo>
                  <a:pt x="682" y="411"/>
                </a:lnTo>
                <a:lnTo>
                  <a:pt x="703" y="447"/>
                </a:lnTo>
                <a:lnTo>
                  <a:pt x="743" y="484"/>
                </a:lnTo>
                <a:lnTo>
                  <a:pt x="762" y="499"/>
                </a:lnTo>
                <a:lnTo>
                  <a:pt x="762" y="518"/>
                </a:lnTo>
                <a:lnTo>
                  <a:pt x="782" y="499"/>
                </a:lnTo>
                <a:lnTo>
                  <a:pt x="782" y="518"/>
                </a:lnTo>
                <a:lnTo>
                  <a:pt x="782" y="536"/>
                </a:lnTo>
                <a:lnTo>
                  <a:pt x="805" y="553"/>
                </a:lnTo>
                <a:lnTo>
                  <a:pt x="824" y="553"/>
                </a:lnTo>
                <a:lnTo>
                  <a:pt x="885" y="536"/>
                </a:lnTo>
                <a:lnTo>
                  <a:pt x="904" y="518"/>
                </a:lnTo>
                <a:lnTo>
                  <a:pt x="945" y="484"/>
                </a:lnTo>
                <a:lnTo>
                  <a:pt x="945" y="499"/>
                </a:lnTo>
                <a:lnTo>
                  <a:pt x="945" y="518"/>
                </a:lnTo>
                <a:lnTo>
                  <a:pt x="945" y="536"/>
                </a:lnTo>
                <a:lnTo>
                  <a:pt x="964" y="553"/>
                </a:lnTo>
                <a:lnTo>
                  <a:pt x="985" y="553"/>
                </a:lnTo>
                <a:lnTo>
                  <a:pt x="1004" y="572"/>
                </a:lnTo>
                <a:lnTo>
                  <a:pt x="1023" y="589"/>
                </a:lnTo>
                <a:lnTo>
                  <a:pt x="1045" y="589"/>
                </a:lnTo>
                <a:lnTo>
                  <a:pt x="1064" y="609"/>
                </a:lnTo>
                <a:lnTo>
                  <a:pt x="1045" y="626"/>
                </a:lnTo>
                <a:lnTo>
                  <a:pt x="1023" y="643"/>
                </a:lnTo>
                <a:lnTo>
                  <a:pt x="1023" y="662"/>
                </a:lnTo>
                <a:lnTo>
                  <a:pt x="1004" y="662"/>
                </a:lnTo>
                <a:lnTo>
                  <a:pt x="985" y="680"/>
                </a:lnTo>
                <a:lnTo>
                  <a:pt x="985" y="697"/>
                </a:lnTo>
                <a:lnTo>
                  <a:pt x="964" y="716"/>
                </a:lnTo>
                <a:lnTo>
                  <a:pt x="945" y="716"/>
                </a:lnTo>
                <a:lnTo>
                  <a:pt x="945" y="733"/>
                </a:lnTo>
                <a:lnTo>
                  <a:pt x="924" y="753"/>
                </a:lnTo>
                <a:lnTo>
                  <a:pt x="904" y="770"/>
                </a:lnTo>
                <a:lnTo>
                  <a:pt x="885" y="770"/>
                </a:lnTo>
                <a:lnTo>
                  <a:pt x="824" y="770"/>
                </a:lnTo>
                <a:lnTo>
                  <a:pt x="805" y="806"/>
                </a:lnTo>
                <a:lnTo>
                  <a:pt x="805" y="824"/>
                </a:lnTo>
                <a:lnTo>
                  <a:pt x="762" y="824"/>
                </a:lnTo>
                <a:lnTo>
                  <a:pt x="743" y="824"/>
                </a:lnTo>
                <a:lnTo>
                  <a:pt x="722" y="841"/>
                </a:lnTo>
                <a:lnTo>
                  <a:pt x="682" y="858"/>
                </a:lnTo>
                <a:lnTo>
                  <a:pt x="663" y="875"/>
                </a:lnTo>
                <a:lnTo>
                  <a:pt x="641" y="875"/>
                </a:lnTo>
                <a:lnTo>
                  <a:pt x="622" y="875"/>
                </a:lnTo>
                <a:lnTo>
                  <a:pt x="603" y="875"/>
                </a:lnTo>
                <a:lnTo>
                  <a:pt x="603" y="893"/>
                </a:lnTo>
                <a:lnTo>
                  <a:pt x="582" y="893"/>
                </a:lnTo>
                <a:lnTo>
                  <a:pt x="563" y="893"/>
                </a:lnTo>
                <a:lnTo>
                  <a:pt x="542" y="893"/>
                </a:lnTo>
                <a:lnTo>
                  <a:pt x="542" y="875"/>
                </a:lnTo>
                <a:lnTo>
                  <a:pt x="542" y="841"/>
                </a:lnTo>
                <a:lnTo>
                  <a:pt x="522" y="824"/>
                </a:lnTo>
                <a:lnTo>
                  <a:pt x="522" y="806"/>
                </a:lnTo>
                <a:lnTo>
                  <a:pt x="522" y="787"/>
                </a:lnTo>
                <a:lnTo>
                  <a:pt x="522" y="770"/>
                </a:lnTo>
                <a:lnTo>
                  <a:pt x="503" y="770"/>
                </a:lnTo>
                <a:lnTo>
                  <a:pt x="503" y="753"/>
                </a:lnTo>
                <a:lnTo>
                  <a:pt x="482" y="733"/>
                </a:lnTo>
                <a:lnTo>
                  <a:pt x="463" y="716"/>
                </a:lnTo>
                <a:lnTo>
                  <a:pt x="463" y="680"/>
                </a:lnTo>
                <a:lnTo>
                  <a:pt x="423" y="662"/>
                </a:lnTo>
                <a:lnTo>
                  <a:pt x="401" y="643"/>
                </a:lnTo>
                <a:lnTo>
                  <a:pt x="401" y="609"/>
                </a:lnTo>
                <a:lnTo>
                  <a:pt x="401" y="589"/>
                </a:lnTo>
                <a:lnTo>
                  <a:pt x="382" y="572"/>
                </a:lnTo>
                <a:lnTo>
                  <a:pt x="382" y="553"/>
                </a:lnTo>
                <a:lnTo>
                  <a:pt x="382" y="572"/>
                </a:lnTo>
                <a:lnTo>
                  <a:pt x="382" y="553"/>
                </a:lnTo>
                <a:lnTo>
                  <a:pt x="363" y="553"/>
                </a:lnTo>
                <a:lnTo>
                  <a:pt x="342" y="553"/>
                </a:lnTo>
                <a:lnTo>
                  <a:pt x="342" y="536"/>
                </a:lnTo>
                <a:lnTo>
                  <a:pt x="342" y="518"/>
                </a:lnTo>
                <a:lnTo>
                  <a:pt x="342" y="499"/>
                </a:lnTo>
                <a:lnTo>
                  <a:pt x="323" y="484"/>
                </a:lnTo>
                <a:lnTo>
                  <a:pt x="300" y="484"/>
                </a:lnTo>
                <a:lnTo>
                  <a:pt x="281" y="447"/>
                </a:lnTo>
                <a:lnTo>
                  <a:pt x="281" y="430"/>
                </a:lnTo>
                <a:lnTo>
                  <a:pt x="281" y="411"/>
                </a:lnTo>
                <a:lnTo>
                  <a:pt x="281" y="376"/>
                </a:lnTo>
                <a:lnTo>
                  <a:pt x="281" y="394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7" name="Freeform 101"/>
          <p:cNvSpPr>
            <a:spLocks/>
          </p:cNvSpPr>
          <p:nvPr/>
        </p:nvSpPr>
        <p:spPr bwMode="gray">
          <a:xfrm>
            <a:off x="5486400" y="3363913"/>
            <a:ext cx="873125" cy="630237"/>
          </a:xfrm>
          <a:custGeom>
            <a:avLst/>
            <a:gdLst>
              <a:gd name="T0" fmla="*/ 2147483647 w 1248"/>
              <a:gd name="T1" fmla="*/ 2147483647 h 875"/>
              <a:gd name="T2" fmla="*/ 2147483647 w 1248"/>
              <a:gd name="T3" fmla="*/ 2147483647 h 875"/>
              <a:gd name="T4" fmla="*/ 2147483647 w 1248"/>
              <a:gd name="T5" fmla="*/ 2147483647 h 875"/>
              <a:gd name="T6" fmla="*/ 2147483647 w 1248"/>
              <a:gd name="T7" fmla="*/ 2147483647 h 875"/>
              <a:gd name="T8" fmla="*/ 2147483647 w 1248"/>
              <a:gd name="T9" fmla="*/ 2147483647 h 875"/>
              <a:gd name="T10" fmla="*/ 2147483647 w 1248"/>
              <a:gd name="T11" fmla="*/ 2147483647 h 875"/>
              <a:gd name="T12" fmla="*/ 2147483647 w 1248"/>
              <a:gd name="T13" fmla="*/ 2147483647 h 875"/>
              <a:gd name="T14" fmla="*/ 2147483647 w 1248"/>
              <a:gd name="T15" fmla="*/ 2147483647 h 875"/>
              <a:gd name="T16" fmla="*/ 2147483647 w 1248"/>
              <a:gd name="T17" fmla="*/ 2147483647 h 875"/>
              <a:gd name="T18" fmla="*/ 2147483647 w 1248"/>
              <a:gd name="T19" fmla="*/ 2147483647 h 875"/>
              <a:gd name="T20" fmla="*/ 2147483647 w 1248"/>
              <a:gd name="T21" fmla="*/ 2147483647 h 875"/>
              <a:gd name="T22" fmla="*/ 2147483647 w 1248"/>
              <a:gd name="T23" fmla="*/ 2147483647 h 875"/>
              <a:gd name="T24" fmla="*/ 2147483647 w 1248"/>
              <a:gd name="T25" fmla="*/ 2147483647 h 875"/>
              <a:gd name="T26" fmla="*/ 2147483647 w 1248"/>
              <a:gd name="T27" fmla="*/ 2147483647 h 875"/>
              <a:gd name="T28" fmla="*/ 2147483647 w 1248"/>
              <a:gd name="T29" fmla="*/ 2147483647 h 875"/>
              <a:gd name="T30" fmla="*/ 2147483647 w 1248"/>
              <a:gd name="T31" fmla="*/ 2147483647 h 875"/>
              <a:gd name="T32" fmla="*/ 2147483647 w 1248"/>
              <a:gd name="T33" fmla="*/ 2147483647 h 875"/>
              <a:gd name="T34" fmla="*/ 2147483647 w 1248"/>
              <a:gd name="T35" fmla="*/ 2147483647 h 875"/>
              <a:gd name="T36" fmla="*/ 2147483647 w 1248"/>
              <a:gd name="T37" fmla="*/ 2147483647 h 875"/>
              <a:gd name="T38" fmla="*/ 2147483647 w 1248"/>
              <a:gd name="T39" fmla="*/ 2147483647 h 875"/>
              <a:gd name="T40" fmla="*/ 2147483647 w 1248"/>
              <a:gd name="T41" fmla="*/ 2147483647 h 875"/>
              <a:gd name="T42" fmla="*/ 2147483647 w 1248"/>
              <a:gd name="T43" fmla="*/ 2147483647 h 875"/>
              <a:gd name="T44" fmla="*/ 2147483647 w 1248"/>
              <a:gd name="T45" fmla="*/ 2147483647 h 875"/>
              <a:gd name="T46" fmla="*/ 2147483647 w 1248"/>
              <a:gd name="T47" fmla="*/ 2147483647 h 875"/>
              <a:gd name="T48" fmla="*/ 2147483647 w 1248"/>
              <a:gd name="T49" fmla="*/ 2147483647 h 875"/>
              <a:gd name="T50" fmla="*/ 2147483647 w 1248"/>
              <a:gd name="T51" fmla="*/ 2147483647 h 875"/>
              <a:gd name="T52" fmla="*/ 2147483647 w 1248"/>
              <a:gd name="T53" fmla="*/ 2147483647 h 875"/>
              <a:gd name="T54" fmla="*/ 2147483647 w 1248"/>
              <a:gd name="T55" fmla="*/ 2147483647 h 875"/>
              <a:gd name="T56" fmla="*/ 2147483647 w 1248"/>
              <a:gd name="T57" fmla="*/ 2147483647 h 875"/>
              <a:gd name="T58" fmla="*/ 2147483647 w 1248"/>
              <a:gd name="T59" fmla="*/ 2147483647 h 875"/>
              <a:gd name="T60" fmla="*/ 2147483647 w 1248"/>
              <a:gd name="T61" fmla="*/ 2147483647 h 875"/>
              <a:gd name="T62" fmla="*/ 2147483647 w 1248"/>
              <a:gd name="T63" fmla="*/ 2147483647 h 875"/>
              <a:gd name="T64" fmla="*/ 2147483647 w 1248"/>
              <a:gd name="T65" fmla="*/ 2147483647 h 875"/>
              <a:gd name="T66" fmla="*/ 2147483647 w 1248"/>
              <a:gd name="T67" fmla="*/ 2147483647 h 875"/>
              <a:gd name="T68" fmla="*/ 2147483647 w 1248"/>
              <a:gd name="T69" fmla="*/ 2147483647 h 875"/>
              <a:gd name="T70" fmla="*/ 2147483647 w 1248"/>
              <a:gd name="T71" fmla="*/ 2147483647 h 875"/>
              <a:gd name="T72" fmla="*/ 2147483647 w 1248"/>
              <a:gd name="T73" fmla="*/ 2147483647 h 875"/>
              <a:gd name="T74" fmla="*/ 2147483647 w 1248"/>
              <a:gd name="T75" fmla="*/ 2147483647 h 875"/>
              <a:gd name="T76" fmla="*/ 2147483647 w 1248"/>
              <a:gd name="T77" fmla="*/ 2147483647 h 875"/>
              <a:gd name="T78" fmla="*/ 2147483647 w 1248"/>
              <a:gd name="T79" fmla="*/ 2147483647 h 875"/>
              <a:gd name="T80" fmla="*/ 2147483647 w 1248"/>
              <a:gd name="T81" fmla="*/ 2147483647 h 875"/>
              <a:gd name="T82" fmla="*/ 2147483647 w 1248"/>
              <a:gd name="T83" fmla="*/ 2147483647 h 875"/>
              <a:gd name="T84" fmla="*/ 2147483647 w 1248"/>
              <a:gd name="T85" fmla="*/ 2147483647 h 875"/>
              <a:gd name="T86" fmla="*/ 2147483647 w 1248"/>
              <a:gd name="T87" fmla="*/ 2147483647 h 875"/>
              <a:gd name="T88" fmla="*/ 2147483647 w 1248"/>
              <a:gd name="T89" fmla="*/ 2147483647 h 875"/>
              <a:gd name="T90" fmla="*/ 2147483647 w 1248"/>
              <a:gd name="T91" fmla="*/ 2147483647 h 875"/>
              <a:gd name="T92" fmla="*/ 2147483647 w 1248"/>
              <a:gd name="T93" fmla="*/ 2147483647 h 875"/>
              <a:gd name="T94" fmla="*/ 0 w 1248"/>
              <a:gd name="T95" fmla="*/ 2147483647 h 875"/>
              <a:gd name="T96" fmla="*/ 0 w 1248"/>
              <a:gd name="T97" fmla="*/ 2147483647 h 875"/>
              <a:gd name="T98" fmla="*/ 2147483647 w 1248"/>
              <a:gd name="T99" fmla="*/ 2147483647 h 875"/>
              <a:gd name="T100" fmla="*/ 2147483647 w 1248"/>
              <a:gd name="T101" fmla="*/ 2147483647 h 875"/>
              <a:gd name="T102" fmla="*/ 2147483647 w 1248"/>
              <a:gd name="T103" fmla="*/ 2147483647 h 875"/>
              <a:gd name="T104" fmla="*/ 2147483647 w 1248"/>
              <a:gd name="T105" fmla="*/ 2147483647 h 875"/>
              <a:gd name="T106" fmla="*/ 2147483647 w 1248"/>
              <a:gd name="T107" fmla="*/ 2147483647 h 875"/>
              <a:gd name="T108" fmla="*/ 2147483647 w 1248"/>
              <a:gd name="T109" fmla="*/ 2147483647 h 875"/>
              <a:gd name="T110" fmla="*/ 2147483647 w 1248"/>
              <a:gd name="T111" fmla="*/ 2147483647 h 875"/>
              <a:gd name="T112" fmla="*/ 2147483647 w 1248"/>
              <a:gd name="T113" fmla="*/ 2147483647 h 875"/>
              <a:gd name="T114" fmla="*/ 2147483647 w 1248"/>
              <a:gd name="T115" fmla="*/ 2147483647 h 875"/>
              <a:gd name="T116" fmla="*/ 2147483647 w 1248"/>
              <a:gd name="T117" fmla="*/ 2147483647 h 87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48"/>
              <a:gd name="T178" fmla="*/ 0 h 875"/>
              <a:gd name="T179" fmla="*/ 1248 w 1248"/>
              <a:gd name="T180" fmla="*/ 875 h 87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48" h="875">
                <a:moveTo>
                  <a:pt x="382" y="591"/>
                </a:moveTo>
                <a:lnTo>
                  <a:pt x="363" y="591"/>
                </a:lnTo>
                <a:lnTo>
                  <a:pt x="363" y="608"/>
                </a:lnTo>
                <a:lnTo>
                  <a:pt x="382" y="608"/>
                </a:lnTo>
                <a:lnTo>
                  <a:pt x="382" y="625"/>
                </a:lnTo>
                <a:lnTo>
                  <a:pt x="403" y="662"/>
                </a:lnTo>
                <a:lnTo>
                  <a:pt x="403" y="679"/>
                </a:lnTo>
                <a:lnTo>
                  <a:pt x="403" y="698"/>
                </a:lnTo>
                <a:lnTo>
                  <a:pt x="422" y="716"/>
                </a:lnTo>
                <a:lnTo>
                  <a:pt x="422" y="735"/>
                </a:lnTo>
                <a:lnTo>
                  <a:pt x="422" y="750"/>
                </a:lnTo>
                <a:lnTo>
                  <a:pt x="441" y="767"/>
                </a:lnTo>
                <a:lnTo>
                  <a:pt x="441" y="787"/>
                </a:lnTo>
                <a:lnTo>
                  <a:pt x="463" y="804"/>
                </a:lnTo>
                <a:lnTo>
                  <a:pt x="463" y="821"/>
                </a:lnTo>
                <a:lnTo>
                  <a:pt x="482" y="840"/>
                </a:lnTo>
                <a:lnTo>
                  <a:pt x="503" y="875"/>
                </a:lnTo>
                <a:lnTo>
                  <a:pt x="522" y="875"/>
                </a:lnTo>
                <a:lnTo>
                  <a:pt x="543" y="858"/>
                </a:lnTo>
                <a:lnTo>
                  <a:pt x="562" y="858"/>
                </a:lnTo>
                <a:lnTo>
                  <a:pt x="562" y="840"/>
                </a:lnTo>
                <a:lnTo>
                  <a:pt x="562" y="821"/>
                </a:lnTo>
                <a:lnTo>
                  <a:pt x="582" y="821"/>
                </a:lnTo>
                <a:lnTo>
                  <a:pt x="603" y="821"/>
                </a:lnTo>
                <a:lnTo>
                  <a:pt x="603" y="804"/>
                </a:lnTo>
                <a:lnTo>
                  <a:pt x="603" y="787"/>
                </a:lnTo>
                <a:lnTo>
                  <a:pt x="603" y="750"/>
                </a:lnTo>
                <a:lnTo>
                  <a:pt x="603" y="735"/>
                </a:lnTo>
                <a:lnTo>
                  <a:pt x="603" y="716"/>
                </a:lnTo>
                <a:lnTo>
                  <a:pt x="603" y="698"/>
                </a:lnTo>
                <a:lnTo>
                  <a:pt x="622" y="679"/>
                </a:lnTo>
                <a:lnTo>
                  <a:pt x="643" y="679"/>
                </a:lnTo>
                <a:lnTo>
                  <a:pt x="662" y="662"/>
                </a:lnTo>
                <a:lnTo>
                  <a:pt x="685" y="645"/>
                </a:lnTo>
                <a:lnTo>
                  <a:pt x="704" y="625"/>
                </a:lnTo>
                <a:lnTo>
                  <a:pt x="726" y="608"/>
                </a:lnTo>
                <a:lnTo>
                  <a:pt x="745" y="591"/>
                </a:lnTo>
                <a:lnTo>
                  <a:pt x="785" y="572"/>
                </a:lnTo>
                <a:lnTo>
                  <a:pt x="804" y="554"/>
                </a:lnTo>
                <a:lnTo>
                  <a:pt x="804" y="535"/>
                </a:lnTo>
                <a:lnTo>
                  <a:pt x="825" y="518"/>
                </a:lnTo>
                <a:lnTo>
                  <a:pt x="845" y="501"/>
                </a:lnTo>
                <a:lnTo>
                  <a:pt x="866" y="518"/>
                </a:lnTo>
                <a:lnTo>
                  <a:pt x="904" y="518"/>
                </a:lnTo>
                <a:lnTo>
                  <a:pt x="925" y="501"/>
                </a:lnTo>
                <a:lnTo>
                  <a:pt x="925" y="481"/>
                </a:lnTo>
                <a:lnTo>
                  <a:pt x="944" y="481"/>
                </a:lnTo>
                <a:lnTo>
                  <a:pt x="965" y="481"/>
                </a:lnTo>
                <a:lnTo>
                  <a:pt x="965" y="501"/>
                </a:lnTo>
                <a:lnTo>
                  <a:pt x="965" y="518"/>
                </a:lnTo>
                <a:lnTo>
                  <a:pt x="985" y="535"/>
                </a:lnTo>
                <a:lnTo>
                  <a:pt x="985" y="554"/>
                </a:lnTo>
                <a:lnTo>
                  <a:pt x="1006" y="554"/>
                </a:lnTo>
                <a:lnTo>
                  <a:pt x="1006" y="572"/>
                </a:lnTo>
                <a:lnTo>
                  <a:pt x="1025" y="591"/>
                </a:lnTo>
                <a:lnTo>
                  <a:pt x="1025" y="608"/>
                </a:lnTo>
                <a:lnTo>
                  <a:pt x="1025" y="625"/>
                </a:lnTo>
                <a:lnTo>
                  <a:pt x="1044" y="625"/>
                </a:lnTo>
                <a:lnTo>
                  <a:pt x="1044" y="645"/>
                </a:lnTo>
                <a:lnTo>
                  <a:pt x="1044" y="662"/>
                </a:lnTo>
                <a:lnTo>
                  <a:pt x="1025" y="662"/>
                </a:lnTo>
                <a:lnTo>
                  <a:pt x="1044" y="679"/>
                </a:lnTo>
                <a:lnTo>
                  <a:pt x="1044" y="698"/>
                </a:lnTo>
                <a:lnTo>
                  <a:pt x="1065" y="679"/>
                </a:lnTo>
                <a:lnTo>
                  <a:pt x="1084" y="662"/>
                </a:lnTo>
                <a:lnTo>
                  <a:pt x="1106" y="645"/>
                </a:lnTo>
                <a:lnTo>
                  <a:pt x="1106" y="662"/>
                </a:lnTo>
                <a:lnTo>
                  <a:pt x="1125" y="662"/>
                </a:lnTo>
                <a:lnTo>
                  <a:pt x="1125" y="679"/>
                </a:lnTo>
                <a:lnTo>
                  <a:pt x="1125" y="698"/>
                </a:lnTo>
                <a:lnTo>
                  <a:pt x="1125" y="716"/>
                </a:lnTo>
                <a:lnTo>
                  <a:pt x="1146" y="735"/>
                </a:lnTo>
                <a:lnTo>
                  <a:pt x="1167" y="787"/>
                </a:lnTo>
                <a:lnTo>
                  <a:pt x="1167" y="804"/>
                </a:lnTo>
                <a:lnTo>
                  <a:pt x="1167" y="821"/>
                </a:lnTo>
                <a:lnTo>
                  <a:pt x="1188" y="821"/>
                </a:lnTo>
                <a:lnTo>
                  <a:pt x="1188" y="804"/>
                </a:lnTo>
                <a:lnTo>
                  <a:pt x="1188" y="787"/>
                </a:lnTo>
                <a:lnTo>
                  <a:pt x="1188" y="750"/>
                </a:lnTo>
                <a:lnTo>
                  <a:pt x="1188" y="716"/>
                </a:lnTo>
                <a:lnTo>
                  <a:pt x="1167" y="716"/>
                </a:lnTo>
                <a:lnTo>
                  <a:pt x="1146" y="716"/>
                </a:lnTo>
                <a:lnTo>
                  <a:pt x="1146" y="698"/>
                </a:lnTo>
                <a:lnTo>
                  <a:pt x="1167" y="698"/>
                </a:lnTo>
                <a:lnTo>
                  <a:pt x="1167" y="679"/>
                </a:lnTo>
                <a:lnTo>
                  <a:pt x="1167" y="662"/>
                </a:lnTo>
                <a:lnTo>
                  <a:pt x="1167" y="645"/>
                </a:lnTo>
                <a:lnTo>
                  <a:pt x="1146" y="625"/>
                </a:lnTo>
                <a:lnTo>
                  <a:pt x="1125" y="625"/>
                </a:lnTo>
                <a:lnTo>
                  <a:pt x="1125" y="608"/>
                </a:lnTo>
                <a:lnTo>
                  <a:pt x="1146" y="591"/>
                </a:lnTo>
                <a:lnTo>
                  <a:pt x="1146" y="572"/>
                </a:lnTo>
                <a:lnTo>
                  <a:pt x="1167" y="572"/>
                </a:lnTo>
                <a:lnTo>
                  <a:pt x="1167" y="554"/>
                </a:lnTo>
                <a:lnTo>
                  <a:pt x="1188" y="554"/>
                </a:lnTo>
                <a:lnTo>
                  <a:pt x="1207" y="554"/>
                </a:lnTo>
                <a:lnTo>
                  <a:pt x="1227" y="535"/>
                </a:lnTo>
                <a:lnTo>
                  <a:pt x="1248" y="501"/>
                </a:lnTo>
                <a:lnTo>
                  <a:pt x="1227" y="518"/>
                </a:lnTo>
                <a:lnTo>
                  <a:pt x="1207" y="501"/>
                </a:lnTo>
                <a:lnTo>
                  <a:pt x="1188" y="481"/>
                </a:lnTo>
                <a:lnTo>
                  <a:pt x="1188" y="464"/>
                </a:lnTo>
                <a:lnTo>
                  <a:pt x="1188" y="447"/>
                </a:lnTo>
                <a:lnTo>
                  <a:pt x="1167" y="428"/>
                </a:lnTo>
                <a:lnTo>
                  <a:pt x="1167" y="447"/>
                </a:lnTo>
                <a:lnTo>
                  <a:pt x="1146" y="447"/>
                </a:lnTo>
                <a:lnTo>
                  <a:pt x="1146" y="428"/>
                </a:lnTo>
                <a:lnTo>
                  <a:pt x="1146" y="410"/>
                </a:lnTo>
                <a:lnTo>
                  <a:pt x="1167" y="391"/>
                </a:lnTo>
                <a:lnTo>
                  <a:pt x="1167" y="376"/>
                </a:lnTo>
                <a:lnTo>
                  <a:pt x="1167" y="339"/>
                </a:lnTo>
                <a:lnTo>
                  <a:pt x="1167" y="322"/>
                </a:lnTo>
                <a:lnTo>
                  <a:pt x="1146" y="322"/>
                </a:lnTo>
                <a:lnTo>
                  <a:pt x="1106" y="305"/>
                </a:lnTo>
                <a:lnTo>
                  <a:pt x="1084" y="286"/>
                </a:lnTo>
                <a:lnTo>
                  <a:pt x="1065" y="286"/>
                </a:lnTo>
                <a:lnTo>
                  <a:pt x="1044" y="286"/>
                </a:lnTo>
                <a:lnTo>
                  <a:pt x="1025" y="305"/>
                </a:lnTo>
                <a:lnTo>
                  <a:pt x="1006" y="322"/>
                </a:lnTo>
                <a:lnTo>
                  <a:pt x="985" y="322"/>
                </a:lnTo>
                <a:lnTo>
                  <a:pt x="965" y="322"/>
                </a:lnTo>
                <a:lnTo>
                  <a:pt x="944" y="322"/>
                </a:lnTo>
                <a:lnTo>
                  <a:pt x="925" y="322"/>
                </a:lnTo>
                <a:lnTo>
                  <a:pt x="904" y="322"/>
                </a:lnTo>
                <a:lnTo>
                  <a:pt x="885" y="339"/>
                </a:lnTo>
                <a:lnTo>
                  <a:pt x="866" y="339"/>
                </a:lnTo>
                <a:lnTo>
                  <a:pt x="866" y="322"/>
                </a:lnTo>
                <a:lnTo>
                  <a:pt x="845" y="322"/>
                </a:lnTo>
                <a:lnTo>
                  <a:pt x="825" y="322"/>
                </a:lnTo>
                <a:lnTo>
                  <a:pt x="804" y="322"/>
                </a:lnTo>
                <a:lnTo>
                  <a:pt x="785" y="322"/>
                </a:lnTo>
                <a:lnTo>
                  <a:pt x="764" y="305"/>
                </a:lnTo>
                <a:lnTo>
                  <a:pt x="745" y="305"/>
                </a:lnTo>
                <a:lnTo>
                  <a:pt x="726" y="305"/>
                </a:lnTo>
                <a:lnTo>
                  <a:pt x="726" y="286"/>
                </a:lnTo>
                <a:lnTo>
                  <a:pt x="704" y="286"/>
                </a:lnTo>
                <a:lnTo>
                  <a:pt x="685" y="268"/>
                </a:lnTo>
                <a:lnTo>
                  <a:pt x="662" y="249"/>
                </a:lnTo>
                <a:lnTo>
                  <a:pt x="622" y="249"/>
                </a:lnTo>
                <a:lnTo>
                  <a:pt x="603" y="249"/>
                </a:lnTo>
                <a:lnTo>
                  <a:pt x="582" y="232"/>
                </a:lnTo>
                <a:lnTo>
                  <a:pt x="562" y="232"/>
                </a:lnTo>
                <a:lnTo>
                  <a:pt x="562" y="215"/>
                </a:lnTo>
                <a:lnTo>
                  <a:pt x="562" y="195"/>
                </a:lnTo>
                <a:lnTo>
                  <a:pt x="582" y="195"/>
                </a:lnTo>
                <a:lnTo>
                  <a:pt x="582" y="178"/>
                </a:lnTo>
                <a:lnTo>
                  <a:pt x="582" y="161"/>
                </a:lnTo>
                <a:lnTo>
                  <a:pt x="562" y="142"/>
                </a:lnTo>
                <a:lnTo>
                  <a:pt x="582" y="124"/>
                </a:lnTo>
                <a:lnTo>
                  <a:pt x="603" y="124"/>
                </a:lnTo>
                <a:lnTo>
                  <a:pt x="603" y="105"/>
                </a:lnTo>
                <a:lnTo>
                  <a:pt x="603" y="88"/>
                </a:lnTo>
                <a:lnTo>
                  <a:pt x="603" y="71"/>
                </a:lnTo>
                <a:lnTo>
                  <a:pt x="582" y="71"/>
                </a:lnTo>
                <a:lnTo>
                  <a:pt x="562" y="71"/>
                </a:lnTo>
                <a:lnTo>
                  <a:pt x="543" y="88"/>
                </a:lnTo>
                <a:lnTo>
                  <a:pt x="522" y="88"/>
                </a:lnTo>
                <a:lnTo>
                  <a:pt x="503" y="88"/>
                </a:lnTo>
                <a:lnTo>
                  <a:pt x="482" y="71"/>
                </a:lnTo>
                <a:lnTo>
                  <a:pt x="463" y="71"/>
                </a:lnTo>
                <a:lnTo>
                  <a:pt x="463" y="51"/>
                </a:lnTo>
                <a:lnTo>
                  <a:pt x="441" y="51"/>
                </a:lnTo>
                <a:lnTo>
                  <a:pt x="441" y="34"/>
                </a:lnTo>
                <a:lnTo>
                  <a:pt x="422" y="34"/>
                </a:lnTo>
                <a:lnTo>
                  <a:pt x="403" y="34"/>
                </a:lnTo>
                <a:lnTo>
                  <a:pt x="363" y="51"/>
                </a:lnTo>
                <a:lnTo>
                  <a:pt x="342" y="51"/>
                </a:lnTo>
                <a:lnTo>
                  <a:pt x="322" y="34"/>
                </a:lnTo>
                <a:lnTo>
                  <a:pt x="322" y="19"/>
                </a:lnTo>
                <a:lnTo>
                  <a:pt x="322" y="0"/>
                </a:lnTo>
                <a:lnTo>
                  <a:pt x="301" y="19"/>
                </a:lnTo>
                <a:lnTo>
                  <a:pt x="282" y="19"/>
                </a:lnTo>
                <a:lnTo>
                  <a:pt x="263" y="34"/>
                </a:lnTo>
                <a:lnTo>
                  <a:pt x="263" y="51"/>
                </a:lnTo>
                <a:lnTo>
                  <a:pt x="242" y="51"/>
                </a:lnTo>
                <a:lnTo>
                  <a:pt x="223" y="51"/>
                </a:lnTo>
                <a:lnTo>
                  <a:pt x="223" y="34"/>
                </a:lnTo>
                <a:lnTo>
                  <a:pt x="201" y="34"/>
                </a:lnTo>
                <a:lnTo>
                  <a:pt x="180" y="34"/>
                </a:lnTo>
                <a:lnTo>
                  <a:pt x="159" y="34"/>
                </a:lnTo>
                <a:lnTo>
                  <a:pt x="140" y="34"/>
                </a:lnTo>
                <a:lnTo>
                  <a:pt x="119" y="51"/>
                </a:lnTo>
                <a:lnTo>
                  <a:pt x="119" y="71"/>
                </a:lnTo>
                <a:lnTo>
                  <a:pt x="100" y="71"/>
                </a:lnTo>
                <a:lnTo>
                  <a:pt x="81" y="88"/>
                </a:lnTo>
                <a:lnTo>
                  <a:pt x="59" y="88"/>
                </a:lnTo>
                <a:lnTo>
                  <a:pt x="59" y="105"/>
                </a:lnTo>
                <a:lnTo>
                  <a:pt x="40" y="88"/>
                </a:lnTo>
                <a:lnTo>
                  <a:pt x="19" y="88"/>
                </a:lnTo>
                <a:lnTo>
                  <a:pt x="19" y="105"/>
                </a:lnTo>
                <a:lnTo>
                  <a:pt x="0" y="124"/>
                </a:lnTo>
                <a:lnTo>
                  <a:pt x="0" y="142"/>
                </a:lnTo>
                <a:lnTo>
                  <a:pt x="0" y="161"/>
                </a:lnTo>
                <a:lnTo>
                  <a:pt x="0" y="178"/>
                </a:lnTo>
                <a:lnTo>
                  <a:pt x="0" y="195"/>
                </a:lnTo>
                <a:lnTo>
                  <a:pt x="0" y="215"/>
                </a:lnTo>
                <a:lnTo>
                  <a:pt x="19" y="215"/>
                </a:lnTo>
                <a:lnTo>
                  <a:pt x="19" y="232"/>
                </a:lnTo>
                <a:lnTo>
                  <a:pt x="40" y="232"/>
                </a:lnTo>
                <a:lnTo>
                  <a:pt x="19" y="249"/>
                </a:lnTo>
                <a:lnTo>
                  <a:pt x="0" y="268"/>
                </a:lnTo>
                <a:lnTo>
                  <a:pt x="19" y="286"/>
                </a:lnTo>
                <a:lnTo>
                  <a:pt x="59" y="305"/>
                </a:lnTo>
                <a:lnTo>
                  <a:pt x="59" y="322"/>
                </a:lnTo>
                <a:lnTo>
                  <a:pt x="81" y="376"/>
                </a:lnTo>
                <a:lnTo>
                  <a:pt x="59" y="376"/>
                </a:lnTo>
                <a:lnTo>
                  <a:pt x="40" y="376"/>
                </a:lnTo>
                <a:lnTo>
                  <a:pt x="40" y="410"/>
                </a:lnTo>
                <a:lnTo>
                  <a:pt x="40" y="428"/>
                </a:lnTo>
                <a:lnTo>
                  <a:pt x="59" y="428"/>
                </a:lnTo>
                <a:lnTo>
                  <a:pt x="81" y="410"/>
                </a:lnTo>
                <a:lnTo>
                  <a:pt x="100" y="410"/>
                </a:lnTo>
                <a:lnTo>
                  <a:pt x="119" y="428"/>
                </a:lnTo>
                <a:lnTo>
                  <a:pt x="119" y="410"/>
                </a:lnTo>
                <a:lnTo>
                  <a:pt x="140" y="410"/>
                </a:lnTo>
                <a:lnTo>
                  <a:pt x="159" y="410"/>
                </a:lnTo>
                <a:lnTo>
                  <a:pt x="180" y="410"/>
                </a:lnTo>
                <a:lnTo>
                  <a:pt x="201" y="428"/>
                </a:lnTo>
                <a:lnTo>
                  <a:pt x="201" y="447"/>
                </a:lnTo>
                <a:lnTo>
                  <a:pt x="223" y="464"/>
                </a:lnTo>
                <a:lnTo>
                  <a:pt x="242" y="481"/>
                </a:lnTo>
                <a:lnTo>
                  <a:pt x="263" y="481"/>
                </a:lnTo>
                <a:lnTo>
                  <a:pt x="282" y="481"/>
                </a:lnTo>
                <a:lnTo>
                  <a:pt x="282" y="501"/>
                </a:lnTo>
                <a:lnTo>
                  <a:pt x="263" y="501"/>
                </a:lnTo>
                <a:lnTo>
                  <a:pt x="263" y="518"/>
                </a:lnTo>
                <a:lnTo>
                  <a:pt x="282" y="554"/>
                </a:lnTo>
                <a:lnTo>
                  <a:pt x="322" y="554"/>
                </a:lnTo>
                <a:lnTo>
                  <a:pt x="322" y="535"/>
                </a:lnTo>
                <a:lnTo>
                  <a:pt x="342" y="518"/>
                </a:lnTo>
                <a:lnTo>
                  <a:pt x="363" y="501"/>
                </a:lnTo>
                <a:lnTo>
                  <a:pt x="363" y="518"/>
                </a:lnTo>
                <a:lnTo>
                  <a:pt x="363" y="535"/>
                </a:lnTo>
                <a:lnTo>
                  <a:pt x="363" y="554"/>
                </a:lnTo>
                <a:lnTo>
                  <a:pt x="382" y="554"/>
                </a:lnTo>
                <a:lnTo>
                  <a:pt x="363" y="572"/>
                </a:lnTo>
                <a:lnTo>
                  <a:pt x="363" y="591"/>
                </a:lnTo>
                <a:lnTo>
                  <a:pt x="382" y="59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8" name="Freeform 102"/>
          <p:cNvSpPr>
            <a:spLocks/>
          </p:cNvSpPr>
          <p:nvPr/>
        </p:nvSpPr>
        <p:spPr bwMode="gray">
          <a:xfrm>
            <a:off x="6273800" y="3700463"/>
            <a:ext cx="266700" cy="438150"/>
          </a:xfrm>
          <a:custGeom>
            <a:avLst/>
            <a:gdLst>
              <a:gd name="T0" fmla="*/ 2147483647 w 384"/>
              <a:gd name="T1" fmla="*/ 2147483647 h 610"/>
              <a:gd name="T2" fmla="*/ 2147483647 w 384"/>
              <a:gd name="T3" fmla="*/ 2147483647 h 610"/>
              <a:gd name="T4" fmla="*/ 2147483647 w 384"/>
              <a:gd name="T5" fmla="*/ 2147483647 h 610"/>
              <a:gd name="T6" fmla="*/ 2147483647 w 384"/>
              <a:gd name="T7" fmla="*/ 2147483647 h 610"/>
              <a:gd name="T8" fmla="*/ 2147483647 w 384"/>
              <a:gd name="T9" fmla="*/ 2147483647 h 610"/>
              <a:gd name="T10" fmla="*/ 2147483647 w 384"/>
              <a:gd name="T11" fmla="*/ 2147483647 h 610"/>
              <a:gd name="T12" fmla="*/ 2147483647 w 384"/>
              <a:gd name="T13" fmla="*/ 2147483647 h 610"/>
              <a:gd name="T14" fmla="*/ 0 w 384"/>
              <a:gd name="T15" fmla="*/ 2147483647 h 610"/>
              <a:gd name="T16" fmla="*/ 2147483647 w 384"/>
              <a:gd name="T17" fmla="*/ 2147483647 h 610"/>
              <a:gd name="T18" fmla="*/ 2147483647 w 384"/>
              <a:gd name="T19" fmla="*/ 2147483647 h 610"/>
              <a:gd name="T20" fmla="*/ 2147483647 w 384"/>
              <a:gd name="T21" fmla="*/ 2147483647 h 610"/>
              <a:gd name="T22" fmla="*/ 2147483647 w 384"/>
              <a:gd name="T23" fmla="*/ 2147483647 h 610"/>
              <a:gd name="T24" fmla="*/ 2147483647 w 384"/>
              <a:gd name="T25" fmla="*/ 2147483647 h 610"/>
              <a:gd name="T26" fmla="*/ 2147483647 w 384"/>
              <a:gd name="T27" fmla="*/ 2147483647 h 610"/>
              <a:gd name="T28" fmla="*/ 2147483647 w 384"/>
              <a:gd name="T29" fmla="*/ 2147483647 h 610"/>
              <a:gd name="T30" fmla="*/ 2147483647 w 384"/>
              <a:gd name="T31" fmla="*/ 2147483647 h 610"/>
              <a:gd name="T32" fmla="*/ 2147483647 w 384"/>
              <a:gd name="T33" fmla="*/ 0 h 610"/>
              <a:gd name="T34" fmla="*/ 2147483647 w 384"/>
              <a:gd name="T35" fmla="*/ 2147483647 h 610"/>
              <a:gd name="T36" fmla="*/ 2147483647 w 384"/>
              <a:gd name="T37" fmla="*/ 2147483647 h 610"/>
              <a:gd name="T38" fmla="*/ 2147483647 w 384"/>
              <a:gd name="T39" fmla="*/ 2147483647 h 610"/>
              <a:gd name="T40" fmla="*/ 2147483647 w 384"/>
              <a:gd name="T41" fmla="*/ 2147483647 h 610"/>
              <a:gd name="T42" fmla="*/ 2147483647 w 384"/>
              <a:gd name="T43" fmla="*/ 2147483647 h 610"/>
              <a:gd name="T44" fmla="*/ 2147483647 w 384"/>
              <a:gd name="T45" fmla="*/ 2147483647 h 610"/>
              <a:gd name="T46" fmla="*/ 2147483647 w 384"/>
              <a:gd name="T47" fmla="*/ 2147483647 h 610"/>
              <a:gd name="T48" fmla="*/ 2147483647 w 384"/>
              <a:gd name="T49" fmla="*/ 2147483647 h 610"/>
              <a:gd name="T50" fmla="*/ 2147483647 w 384"/>
              <a:gd name="T51" fmla="*/ 2147483647 h 610"/>
              <a:gd name="T52" fmla="*/ 2147483647 w 384"/>
              <a:gd name="T53" fmla="*/ 2147483647 h 610"/>
              <a:gd name="T54" fmla="*/ 2147483647 w 384"/>
              <a:gd name="T55" fmla="*/ 2147483647 h 610"/>
              <a:gd name="T56" fmla="*/ 2147483647 w 384"/>
              <a:gd name="T57" fmla="*/ 2147483647 h 610"/>
              <a:gd name="T58" fmla="*/ 2147483647 w 384"/>
              <a:gd name="T59" fmla="*/ 2147483647 h 610"/>
              <a:gd name="T60" fmla="*/ 2147483647 w 384"/>
              <a:gd name="T61" fmla="*/ 2147483647 h 610"/>
              <a:gd name="T62" fmla="*/ 2147483647 w 384"/>
              <a:gd name="T63" fmla="*/ 2147483647 h 610"/>
              <a:gd name="T64" fmla="*/ 2147483647 w 384"/>
              <a:gd name="T65" fmla="*/ 2147483647 h 610"/>
              <a:gd name="T66" fmla="*/ 2147483647 w 384"/>
              <a:gd name="T67" fmla="*/ 2147483647 h 610"/>
              <a:gd name="T68" fmla="*/ 2147483647 w 384"/>
              <a:gd name="T69" fmla="*/ 2147483647 h 610"/>
              <a:gd name="T70" fmla="*/ 2147483647 w 384"/>
              <a:gd name="T71" fmla="*/ 2147483647 h 610"/>
              <a:gd name="T72" fmla="*/ 2147483647 w 384"/>
              <a:gd name="T73" fmla="*/ 2147483647 h 610"/>
              <a:gd name="T74" fmla="*/ 2147483647 w 384"/>
              <a:gd name="T75" fmla="*/ 2147483647 h 610"/>
              <a:gd name="T76" fmla="*/ 2147483647 w 384"/>
              <a:gd name="T77" fmla="*/ 2147483647 h 610"/>
              <a:gd name="T78" fmla="*/ 2147483647 w 384"/>
              <a:gd name="T79" fmla="*/ 2147483647 h 610"/>
              <a:gd name="T80" fmla="*/ 2147483647 w 384"/>
              <a:gd name="T81" fmla="*/ 2147483647 h 610"/>
              <a:gd name="T82" fmla="*/ 2147483647 w 384"/>
              <a:gd name="T83" fmla="*/ 2147483647 h 610"/>
              <a:gd name="T84" fmla="*/ 2147483647 w 384"/>
              <a:gd name="T85" fmla="*/ 2147483647 h 610"/>
              <a:gd name="T86" fmla="*/ 2147483647 w 384"/>
              <a:gd name="T87" fmla="*/ 2147483647 h 610"/>
              <a:gd name="T88" fmla="*/ 2147483647 w 384"/>
              <a:gd name="T89" fmla="*/ 2147483647 h 610"/>
              <a:gd name="T90" fmla="*/ 2147483647 w 384"/>
              <a:gd name="T91" fmla="*/ 2147483647 h 610"/>
              <a:gd name="T92" fmla="*/ 2147483647 w 384"/>
              <a:gd name="T93" fmla="*/ 2147483647 h 610"/>
              <a:gd name="T94" fmla="*/ 2147483647 w 384"/>
              <a:gd name="T95" fmla="*/ 2147483647 h 610"/>
              <a:gd name="T96" fmla="*/ 2147483647 w 384"/>
              <a:gd name="T97" fmla="*/ 2147483647 h 610"/>
              <a:gd name="T98" fmla="*/ 2147483647 w 384"/>
              <a:gd name="T99" fmla="*/ 2147483647 h 610"/>
              <a:gd name="T100" fmla="*/ 2147483647 w 384"/>
              <a:gd name="T101" fmla="*/ 2147483647 h 610"/>
              <a:gd name="T102" fmla="*/ 2147483647 w 384"/>
              <a:gd name="T103" fmla="*/ 2147483647 h 610"/>
              <a:gd name="T104" fmla="*/ 2147483647 w 384"/>
              <a:gd name="T105" fmla="*/ 2147483647 h 610"/>
              <a:gd name="T106" fmla="*/ 2147483647 w 384"/>
              <a:gd name="T107" fmla="*/ 2147483647 h 610"/>
              <a:gd name="T108" fmla="*/ 2147483647 w 384"/>
              <a:gd name="T109" fmla="*/ 2147483647 h 61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84"/>
              <a:gd name="T166" fmla="*/ 0 h 610"/>
              <a:gd name="T167" fmla="*/ 384 w 384"/>
              <a:gd name="T168" fmla="*/ 610 h 61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84" h="610">
                <a:moveTo>
                  <a:pt x="42" y="357"/>
                </a:moveTo>
                <a:lnTo>
                  <a:pt x="63" y="357"/>
                </a:lnTo>
                <a:lnTo>
                  <a:pt x="63" y="340"/>
                </a:lnTo>
                <a:lnTo>
                  <a:pt x="63" y="323"/>
                </a:lnTo>
                <a:lnTo>
                  <a:pt x="63" y="286"/>
                </a:lnTo>
                <a:lnTo>
                  <a:pt x="63" y="252"/>
                </a:lnTo>
                <a:lnTo>
                  <a:pt x="42" y="252"/>
                </a:lnTo>
                <a:lnTo>
                  <a:pt x="21" y="252"/>
                </a:lnTo>
                <a:lnTo>
                  <a:pt x="21" y="234"/>
                </a:lnTo>
                <a:lnTo>
                  <a:pt x="42" y="234"/>
                </a:lnTo>
                <a:lnTo>
                  <a:pt x="42" y="215"/>
                </a:lnTo>
                <a:lnTo>
                  <a:pt x="42" y="198"/>
                </a:lnTo>
                <a:lnTo>
                  <a:pt x="42" y="181"/>
                </a:lnTo>
                <a:lnTo>
                  <a:pt x="21" y="161"/>
                </a:lnTo>
                <a:lnTo>
                  <a:pt x="0" y="161"/>
                </a:lnTo>
                <a:lnTo>
                  <a:pt x="0" y="144"/>
                </a:lnTo>
                <a:lnTo>
                  <a:pt x="21" y="127"/>
                </a:lnTo>
                <a:lnTo>
                  <a:pt x="21" y="108"/>
                </a:lnTo>
                <a:lnTo>
                  <a:pt x="42" y="108"/>
                </a:lnTo>
                <a:lnTo>
                  <a:pt x="42" y="90"/>
                </a:lnTo>
                <a:lnTo>
                  <a:pt x="63" y="90"/>
                </a:lnTo>
                <a:lnTo>
                  <a:pt x="82" y="90"/>
                </a:lnTo>
                <a:lnTo>
                  <a:pt x="104" y="71"/>
                </a:lnTo>
                <a:lnTo>
                  <a:pt x="123" y="37"/>
                </a:lnTo>
                <a:lnTo>
                  <a:pt x="123" y="54"/>
                </a:lnTo>
                <a:lnTo>
                  <a:pt x="123" y="37"/>
                </a:lnTo>
                <a:lnTo>
                  <a:pt x="123" y="17"/>
                </a:lnTo>
                <a:lnTo>
                  <a:pt x="144" y="17"/>
                </a:lnTo>
                <a:lnTo>
                  <a:pt x="163" y="17"/>
                </a:lnTo>
                <a:lnTo>
                  <a:pt x="184" y="17"/>
                </a:lnTo>
                <a:lnTo>
                  <a:pt x="203" y="17"/>
                </a:lnTo>
                <a:lnTo>
                  <a:pt x="223" y="17"/>
                </a:lnTo>
                <a:lnTo>
                  <a:pt x="244" y="0"/>
                </a:lnTo>
                <a:lnTo>
                  <a:pt x="263" y="0"/>
                </a:lnTo>
                <a:lnTo>
                  <a:pt x="263" y="17"/>
                </a:lnTo>
                <a:lnTo>
                  <a:pt x="303" y="17"/>
                </a:lnTo>
                <a:lnTo>
                  <a:pt x="303" y="37"/>
                </a:lnTo>
                <a:lnTo>
                  <a:pt x="324" y="37"/>
                </a:lnTo>
                <a:lnTo>
                  <a:pt x="324" y="54"/>
                </a:lnTo>
                <a:lnTo>
                  <a:pt x="303" y="90"/>
                </a:lnTo>
                <a:lnTo>
                  <a:pt x="263" y="90"/>
                </a:lnTo>
                <a:lnTo>
                  <a:pt x="263" y="144"/>
                </a:lnTo>
                <a:lnTo>
                  <a:pt x="284" y="161"/>
                </a:lnTo>
                <a:lnTo>
                  <a:pt x="303" y="198"/>
                </a:lnTo>
                <a:lnTo>
                  <a:pt x="324" y="198"/>
                </a:lnTo>
                <a:lnTo>
                  <a:pt x="344" y="234"/>
                </a:lnTo>
                <a:lnTo>
                  <a:pt x="365" y="252"/>
                </a:lnTo>
                <a:lnTo>
                  <a:pt x="384" y="303"/>
                </a:lnTo>
                <a:lnTo>
                  <a:pt x="365" y="323"/>
                </a:lnTo>
                <a:lnTo>
                  <a:pt x="365" y="340"/>
                </a:lnTo>
                <a:lnTo>
                  <a:pt x="324" y="340"/>
                </a:lnTo>
                <a:lnTo>
                  <a:pt x="324" y="357"/>
                </a:lnTo>
                <a:lnTo>
                  <a:pt x="303" y="357"/>
                </a:lnTo>
                <a:lnTo>
                  <a:pt x="284" y="357"/>
                </a:lnTo>
                <a:lnTo>
                  <a:pt x="284" y="376"/>
                </a:lnTo>
                <a:lnTo>
                  <a:pt x="263" y="376"/>
                </a:lnTo>
                <a:lnTo>
                  <a:pt x="263" y="394"/>
                </a:lnTo>
                <a:lnTo>
                  <a:pt x="263" y="411"/>
                </a:lnTo>
                <a:lnTo>
                  <a:pt x="244" y="411"/>
                </a:lnTo>
                <a:lnTo>
                  <a:pt x="244" y="394"/>
                </a:lnTo>
                <a:lnTo>
                  <a:pt x="223" y="394"/>
                </a:lnTo>
                <a:lnTo>
                  <a:pt x="223" y="376"/>
                </a:lnTo>
                <a:lnTo>
                  <a:pt x="244" y="376"/>
                </a:lnTo>
                <a:lnTo>
                  <a:pt x="244" y="357"/>
                </a:lnTo>
                <a:lnTo>
                  <a:pt x="223" y="357"/>
                </a:lnTo>
                <a:lnTo>
                  <a:pt x="203" y="357"/>
                </a:lnTo>
                <a:lnTo>
                  <a:pt x="184" y="357"/>
                </a:lnTo>
                <a:lnTo>
                  <a:pt x="184" y="340"/>
                </a:lnTo>
                <a:lnTo>
                  <a:pt x="163" y="323"/>
                </a:lnTo>
                <a:lnTo>
                  <a:pt x="144" y="323"/>
                </a:lnTo>
                <a:lnTo>
                  <a:pt x="123" y="323"/>
                </a:lnTo>
                <a:lnTo>
                  <a:pt x="123" y="303"/>
                </a:lnTo>
                <a:lnTo>
                  <a:pt x="104" y="286"/>
                </a:lnTo>
                <a:lnTo>
                  <a:pt x="82" y="286"/>
                </a:lnTo>
                <a:lnTo>
                  <a:pt x="63" y="286"/>
                </a:lnTo>
                <a:lnTo>
                  <a:pt x="63" y="303"/>
                </a:lnTo>
                <a:lnTo>
                  <a:pt x="82" y="303"/>
                </a:lnTo>
                <a:lnTo>
                  <a:pt x="82" y="323"/>
                </a:lnTo>
                <a:lnTo>
                  <a:pt x="63" y="340"/>
                </a:lnTo>
                <a:lnTo>
                  <a:pt x="63" y="357"/>
                </a:lnTo>
                <a:lnTo>
                  <a:pt x="63" y="376"/>
                </a:lnTo>
                <a:lnTo>
                  <a:pt x="63" y="394"/>
                </a:lnTo>
                <a:lnTo>
                  <a:pt x="82" y="411"/>
                </a:lnTo>
                <a:lnTo>
                  <a:pt x="82" y="430"/>
                </a:lnTo>
                <a:lnTo>
                  <a:pt x="104" y="430"/>
                </a:lnTo>
                <a:lnTo>
                  <a:pt x="123" y="467"/>
                </a:lnTo>
                <a:lnTo>
                  <a:pt x="184" y="484"/>
                </a:lnTo>
                <a:lnTo>
                  <a:pt x="184" y="520"/>
                </a:lnTo>
                <a:lnTo>
                  <a:pt x="184" y="538"/>
                </a:lnTo>
                <a:lnTo>
                  <a:pt x="184" y="555"/>
                </a:lnTo>
                <a:lnTo>
                  <a:pt x="203" y="574"/>
                </a:lnTo>
                <a:lnTo>
                  <a:pt x="203" y="591"/>
                </a:lnTo>
                <a:lnTo>
                  <a:pt x="223" y="591"/>
                </a:lnTo>
                <a:lnTo>
                  <a:pt x="203" y="591"/>
                </a:lnTo>
                <a:lnTo>
                  <a:pt x="184" y="591"/>
                </a:lnTo>
                <a:lnTo>
                  <a:pt x="184" y="610"/>
                </a:lnTo>
                <a:lnTo>
                  <a:pt x="184" y="591"/>
                </a:lnTo>
                <a:lnTo>
                  <a:pt x="144" y="591"/>
                </a:lnTo>
                <a:lnTo>
                  <a:pt x="123" y="555"/>
                </a:lnTo>
                <a:lnTo>
                  <a:pt x="104" y="538"/>
                </a:lnTo>
                <a:lnTo>
                  <a:pt x="82" y="501"/>
                </a:lnTo>
                <a:lnTo>
                  <a:pt x="82" y="484"/>
                </a:lnTo>
                <a:lnTo>
                  <a:pt x="63" y="467"/>
                </a:lnTo>
                <a:lnTo>
                  <a:pt x="63" y="430"/>
                </a:lnTo>
                <a:lnTo>
                  <a:pt x="63" y="411"/>
                </a:lnTo>
                <a:lnTo>
                  <a:pt x="42" y="411"/>
                </a:lnTo>
                <a:lnTo>
                  <a:pt x="21" y="411"/>
                </a:lnTo>
                <a:lnTo>
                  <a:pt x="21" y="394"/>
                </a:lnTo>
                <a:lnTo>
                  <a:pt x="42" y="376"/>
                </a:lnTo>
                <a:lnTo>
                  <a:pt x="42" y="35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299" name="Freeform 103"/>
          <p:cNvSpPr>
            <a:spLocks/>
          </p:cNvSpPr>
          <p:nvPr/>
        </p:nvSpPr>
        <p:spPr bwMode="gray">
          <a:xfrm>
            <a:off x="3984625" y="2874963"/>
            <a:ext cx="830263" cy="552450"/>
          </a:xfrm>
          <a:custGeom>
            <a:avLst/>
            <a:gdLst>
              <a:gd name="T0" fmla="*/ 2147483647 w 1184"/>
              <a:gd name="T1" fmla="*/ 2147483647 h 768"/>
              <a:gd name="T2" fmla="*/ 2147483647 w 1184"/>
              <a:gd name="T3" fmla="*/ 2147483647 h 768"/>
              <a:gd name="T4" fmla="*/ 2147483647 w 1184"/>
              <a:gd name="T5" fmla="*/ 2147483647 h 768"/>
              <a:gd name="T6" fmla="*/ 2147483647 w 1184"/>
              <a:gd name="T7" fmla="*/ 2147483647 h 768"/>
              <a:gd name="T8" fmla="*/ 2147483647 w 1184"/>
              <a:gd name="T9" fmla="*/ 2147483647 h 768"/>
              <a:gd name="T10" fmla="*/ 2147483647 w 1184"/>
              <a:gd name="T11" fmla="*/ 2147483647 h 768"/>
              <a:gd name="T12" fmla="*/ 2147483647 w 1184"/>
              <a:gd name="T13" fmla="*/ 2147483647 h 768"/>
              <a:gd name="T14" fmla="*/ 2147483647 w 1184"/>
              <a:gd name="T15" fmla="*/ 2147483647 h 768"/>
              <a:gd name="T16" fmla="*/ 2147483647 w 1184"/>
              <a:gd name="T17" fmla="*/ 2147483647 h 768"/>
              <a:gd name="T18" fmla="*/ 2147483647 w 1184"/>
              <a:gd name="T19" fmla="*/ 2147483647 h 768"/>
              <a:gd name="T20" fmla="*/ 2147483647 w 1184"/>
              <a:gd name="T21" fmla="*/ 2147483647 h 768"/>
              <a:gd name="T22" fmla="*/ 2147483647 w 1184"/>
              <a:gd name="T23" fmla="*/ 2147483647 h 768"/>
              <a:gd name="T24" fmla="*/ 2147483647 w 1184"/>
              <a:gd name="T25" fmla="*/ 2147483647 h 768"/>
              <a:gd name="T26" fmla="*/ 2147483647 w 1184"/>
              <a:gd name="T27" fmla="*/ 2147483647 h 768"/>
              <a:gd name="T28" fmla="*/ 2147483647 w 1184"/>
              <a:gd name="T29" fmla="*/ 2147483647 h 768"/>
              <a:gd name="T30" fmla="*/ 2147483647 w 1184"/>
              <a:gd name="T31" fmla="*/ 2147483647 h 768"/>
              <a:gd name="T32" fmla="*/ 2147483647 w 1184"/>
              <a:gd name="T33" fmla="*/ 2147483647 h 768"/>
              <a:gd name="T34" fmla="*/ 2147483647 w 1184"/>
              <a:gd name="T35" fmla="*/ 2147483647 h 768"/>
              <a:gd name="T36" fmla="*/ 2147483647 w 1184"/>
              <a:gd name="T37" fmla="*/ 2147483647 h 768"/>
              <a:gd name="T38" fmla="*/ 2147483647 w 1184"/>
              <a:gd name="T39" fmla="*/ 2147483647 h 768"/>
              <a:gd name="T40" fmla="*/ 2147483647 w 1184"/>
              <a:gd name="T41" fmla="*/ 2147483647 h 768"/>
              <a:gd name="T42" fmla="*/ 2147483647 w 1184"/>
              <a:gd name="T43" fmla="*/ 2147483647 h 768"/>
              <a:gd name="T44" fmla="*/ 2147483647 w 1184"/>
              <a:gd name="T45" fmla="*/ 2147483647 h 768"/>
              <a:gd name="T46" fmla="*/ 2147483647 w 1184"/>
              <a:gd name="T47" fmla="*/ 2147483647 h 768"/>
              <a:gd name="T48" fmla="*/ 2147483647 w 1184"/>
              <a:gd name="T49" fmla="*/ 2147483647 h 768"/>
              <a:gd name="T50" fmla="*/ 2147483647 w 1184"/>
              <a:gd name="T51" fmla="*/ 2147483647 h 768"/>
              <a:gd name="T52" fmla="*/ 0 w 1184"/>
              <a:gd name="T53" fmla="*/ 2147483647 h 768"/>
              <a:gd name="T54" fmla="*/ 2147483647 w 1184"/>
              <a:gd name="T55" fmla="*/ 2147483647 h 768"/>
              <a:gd name="T56" fmla="*/ 2147483647 w 1184"/>
              <a:gd name="T57" fmla="*/ 2147483647 h 768"/>
              <a:gd name="T58" fmla="*/ 2147483647 w 1184"/>
              <a:gd name="T59" fmla="*/ 2147483647 h 768"/>
              <a:gd name="T60" fmla="*/ 2147483647 w 1184"/>
              <a:gd name="T61" fmla="*/ 2147483647 h 768"/>
              <a:gd name="T62" fmla="*/ 2147483647 w 1184"/>
              <a:gd name="T63" fmla="*/ 2147483647 h 768"/>
              <a:gd name="T64" fmla="*/ 2147483647 w 1184"/>
              <a:gd name="T65" fmla="*/ 2147483647 h 768"/>
              <a:gd name="T66" fmla="*/ 2147483647 w 1184"/>
              <a:gd name="T67" fmla="*/ 2147483647 h 768"/>
              <a:gd name="T68" fmla="*/ 2147483647 w 1184"/>
              <a:gd name="T69" fmla="*/ 2147483647 h 768"/>
              <a:gd name="T70" fmla="*/ 2147483647 w 1184"/>
              <a:gd name="T71" fmla="*/ 2147483647 h 768"/>
              <a:gd name="T72" fmla="*/ 2147483647 w 1184"/>
              <a:gd name="T73" fmla="*/ 2147483647 h 768"/>
              <a:gd name="T74" fmla="*/ 2147483647 w 1184"/>
              <a:gd name="T75" fmla="*/ 2147483647 h 768"/>
              <a:gd name="T76" fmla="*/ 2147483647 w 1184"/>
              <a:gd name="T77" fmla="*/ 2147483647 h 768"/>
              <a:gd name="T78" fmla="*/ 2147483647 w 1184"/>
              <a:gd name="T79" fmla="*/ 2147483647 h 768"/>
              <a:gd name="T80" fmla="*/ 2147483647 w 1184"/>
              <a:gd name="T81" fmla="*/ 2147483647 h 768"/>
              <a:gd name="T82" fmla="*/ 2147483647 w 1184"/>
              <a:gd name="T83" fmla="*/ 2147483647 h 768"/>
              <a:gd name="T84" fmla="*/ 2147483647 w 1184"/>
              <a:gd name="T85" fmla="*/ 2147483647 h 768"/>
              <a:gd name="T86" fmla="*/ 2147483647 w 1184"/>
              <a:gd name="T87" fmla="*/ 2147483647 h 768"/>
              <a:gd name="T88" fmla="*/ 2147483647 w 1184"/>
              <a:gd name="T89" fmla="*/ 2147483647 h 768"/>
              <a:gd name="T90" fmla="*/ 2147483647 w 1184"/>
              <a:gd name="T91" fmla="*/ 2147483647 h 768"/>
              <a:gd name="T92" fmla="*/ 2147483647 w 1184"/>
              <a:gd name="T93" fmla="*/ 2147483647 h 768"/>
              <a:gd name="T94" fmla="*/ 2147483647 w 1184"/>
              <a:gd name="T95" fmla="*/ 2147483647 h 768"/>
              <a:gd name="T96" fmla="*/ 2147483647 w 1184"/>
              <a:gd name="T97" fmla="*/ 2147483647 h 768"/>
              <a:gd name="T98" fmla="*/ 2147483647 w 1184"/>
              <a:gd name="T99" fmla="*/ 2147483647 h 768"/>
              <a:gd name="T100" fmla="*/ 2147483647 w 1184"/>
              <a:gd name="T101" fmla="*/ 2147483647 h 768"/>
              <a:gd name="T102" fmla="*/ 2147483647 w 1184"/>
              <a:gd name="T103" fmla="*/ 2147483647 h 768"/>
              <a:gd name="T104" fmla="*/ 2147483647 w 1184"/>
              <a:gd name="T105" fmla="*/ 2147483647 h 76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184"/>
              <a:gd name="T160" fmla="*/ 0 h 768"/>
              <a:gd name="T161" fmla="*/ 1184 w 1184"/>
              <a:gd name="T162" fmla="*/ 768 h 76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184" h="768">
                <a:moveTo>
                  <a:pt x="1144" y="465"/>
                </a:moveTo>
                <a:lnTo>
                  <a:pt x="1144" y="482"/>
                </a:lnTo>
                <a:lnTo>
                  <a:pt x="1144" y="499"/>
                </a:lnTo>
                <a:lnTo>
                  <a:pt x="1144" y="518"/>
                </a:lnTo>
                <a:lnTo>
                  <a:pt x="1123" y="536"/>
                </a:lnTo>
                <a:lnTo>
                  <a:pt x="1123" y="553"/>
                </a:lnTo>
                <a:lnTo>
                  <a:pt x="1123" y="572"/>
                </a:lnTo>
                <a:lnTo>
                  <a:pt x="1144" y="589"/>
                </a:lnTo>
                <a:lnTo>
                  <a:pt x="1144" y="609"/>
                </a:lnTo>
                <a:lnTo>
                  <a:pt x="1123" y="609"/>
                </a:lnTo>
                <a:lnTo>
                  <a:pt x="1104" y="609"/>
                </a:lnTo>
                <a:lnTo>
                  <a:pt x="1084" y="626"/>
                </a:lnTo>
                <a:lnTo>
                  <a:pt x="1063" y="626"/>
                </a:lnTo>
                <a:lnTo>
                  <a:pt x="1063" y="609"/>
                </a:lnTo>
                <a:lnTo>
                  <a:pt x="1044" y="609"/>
                </a:lnTo>
                <a:lnTo>
                  <a:pt x="1023" y="609"/>
                </a:lnTo>
                <a:lnTo>
                  <a:pt x="1004" y="609"/>
                </a:lnTo>
                <a:lnTo>
                  <a:pt x="1004" y="626"/>
                </a:lnTo>
                <a:lnTo>
                  <a:pt x="983" y="626"/>
                </a:lnTo>
                <a:lnTo>
                  <a:pt x="963" y="626"/>
                </a:lnTo>
                <a:lnTo>
                  <a:pt x="983" y="643"/>
                </a:lnTo>
                <a:lnTo>
                  <a:pt x="983" y="662"/>
                </a:lnTo>
                <a:lnTo>
                  <a:pt x="983" y="680"/>
                </a:lnTo>
                <a:lnTo>
                  <a:pt x="1004" y="697"/>
                </a:lnTo>
                <a:lnTo>
                  <a:pt x="1004" y="714"/>
                </a:lnTo>
                <a:lnTo>
                  <a:pt x="983" y="697"/>
                </a:lnTo>
                <a:lnTo>
                  <a:pt x="963" y="697"/>
                </a:lnTo>
                <a:lnTo>
                  <a:pt x="983" y="714"/>
                </a:lnTo>
                <a:lnTo>
                  <a:pt x="963" y="731"/>
                </a:lnTo>
                <a:lnTo>
                  <a:pt x="983" y="751"/>
                </a:lnTo>
                <a:lnTo>
                  <a:pt x="963" y="751"/>
                </a:lnTo>
                <a:lnTo>
                  <a:pt x="944" y="731"/>
                </a:lnTo>
                <a:lnTo>
                  <a:pt x="944" y="714"/>
                </a:lnTo>
                <a:lnTo>
                  <a:pt x="944" y="697"/>
                </a:lnTo>
                <a:lnTo>
                  <a:pt x="923" y="697"/>
                </a:lnTo>
                <a:lnTo>
                  <a:pt x="904" y="680"/>
                </a:lnTo>
                <a:lnTo>
                  <a:pt x="904" y="662"/>
                </a:lnTo>
                <a:lnTo>
                  <a:pt x="881" y="643"/>
                </a:lnTo>
                <a:lnTo>
                  <a:pt x="862" y="643"/>
                </a:lnTo>
                <a:lnTo>
                  <a:pt x="862" y="626"/>
                </a:lnTo>
                <a:lnTo>
                  <a:pt x="862" y="609"/>
                </a:lnTo>
                <a:lnTo>
                  <a:pt x="862" y="589"/>
                </a:lnTo>
                <a:lnTo>
                  <a:pt x="862" y="572"/>
                </a:lnTo>
                <a:lnTo>
                  <a:pt x="862" y="553"/>
                </a:lnTo>
                <a:lnTo>
                  <a:pt x="841" y="553"/>
                </a:lnTo>
                <a:lnTo>
                  <a:pt x="821" y="536"/>
                </a:lnTo>
                <a:lnTo>
                  <a:pt x="821" y="518"/>
                </a:lnTo>
                <a:lnTo>
                  <a:pt x="802" y="518"/>
                </a:lnTo>
                <a:lnTo>
                  <a:pt x="762" y="518"/>
                </a:lnTo>
                <a:lnTo>
                  <a:pt x="762" y="499"/>
                </a:lnTo>
                <a:lnTo>
                  <a:pt x="741" y="465"/>
                </a:lnTo>
                <a:lnTo>
                  <a:pt x="722" y="465"/>
                </a:lnTo>
                <a:lnTo>
                  <a:pt x="702" y="465"/>
                </a:lnTo>
                <a:lnTo>
                  <a:pt x="702" y="446"/>
                </a:lnTo>
                <a:lnTo>
                  <a:pt x="681" y="446"/>
                </a:lnTo>
                <a:lnTo>
                  <a:pt x="662" y="446"/>
                </a:lnTo>
                <a:lnTo>
                  <a:pt x="662" y="465"/>
                </a:lnTo>
                <a:lnTo>
                  <a:pt x="662" y="482"/>
                </a:lnTo>
                <a:lnTo>
                  <a:pt x="662" y="499"/>
                </a:lnTo>
                <a:lnTo>
                  <a:pt x="681" y="518"/>
                </a:lnTo>
                <a:lnTo>
                  <a:pt x="702" y="518"/>
                </a:lnTo>
                <a:lnTo>
                  <a:pt x="702" y="536"/>
                </a:lnTo>
                <a:lnTo>
                  <a:pt x="722" y="553"/>
                </a:lnTo>
                <a:lnTo>
                  <a:pt x="722" y="572"/>
                </a:lnTo>
                <a:lnTo>
                  <a:pt x="741" y="572"/>
                </a:lnTo>
                <a:lnTo>
                  <a:pt x="762" y="572"/>
                </a:lnTo>
                <a:lnTo>
                  <a:pt x="781" y="572"/>
                </a:lnTo>
                <a:lnTo>
                  <a:pt x="762" y="572"/>
                </a:lnTo>
                <a:lnTo>
                  <a:pt x="781" y="589"/>
                </a:lnTo>
                <a:lnTo>
                  <a:pt x="802" y="589"/>
                </a:lnTo>
                <a:lnTo>
                  <a:pt x="802" y="609"/>
                </a:lnTo>
                <a:lnTo>
                  <a:pt x="821" y="609"/>
                </a:lnTo>
                <a:lnTo>
                  <a:pt x="841" y="626"/>
                </a:lnTo>
                <a:lnTo>
                  <a:pt x="821" y="626"/>
                </a:lnTo>
                <a:lnTo>
                  <a:pt x="802" y="626"/>
                </a:lnTo>
                <a:lnTo>
                  <a:pt x="781" y="626"/>
                </a:lnTo>
                <a:lnTo>
                  <a:pt x="802" y="643"/>
                </a:lnTo>
                <a:lnTo>
                  <a:pt x="802" y="662"/>
                </a:lnTo>
                <a:lnTo>
                  <a:pt x="821" y="662"/>
                </a:lnTo>
                <a:lnTo>
                  <a:pt x="802" y="680"/>
                </a:lnTo>
                <a:lnTo>
                  <a:pt x="781" y="697"/>
                </a:lnTo>
                <a:lnTo>
                  <a:pt x="762" y="697"/>
                </a:lnTo>
                <a:lnTo>
                  <a:pt x="762" y="680"/>
                </a:lnTo>
                <a:lnTo>
                  <a:pt x="781" y="680"/>
                </a:lnTo>
                <a:lnTo>
                  <a:pt x="762" y="662"/>
                </a:lnTo>
                <a:lnTo>
                  <a:pt x="762" y="643"/>
                </a:lnTo>
                <a:lnTo>
                  <a:pt x="762" y="626"/>
                </a:lnTo>
                <a:lnTo>
                  <a:pt x="741" y="626"/>
                </a:lnTo>
                <a:lnTo>
                  <a:pt x="741" y="609"/>
                </a:lnTo>
                <a:lnTo>
                  <a:pt x="722" y="609"/>
                </a:lnTo>
                <a:lnTo>
                  <a:pt x="681" y="589"/>
                </a:lnTo>
                <a:lnTo>
                  <a:pt x="681" y="572"/>
                </a:lnTo>
                <a:lnTo>
                  <a:pt x="662" y="572"/>
                </a:lnTo>
                <a:lnTo>
                  <a:pt x="641" y="572"/>
                </a:lnTo>
                <a:lnTo>
                  <a:pt x="622" y="572"/>
                </a:lnTo>
                <a:lnTo>
                  <a:pt x="622" y="553"/>
                </a:lnTo>
                <a:lnTo>
                  <a:pt x="622" y="518"/>
                </a:lnTo>
                <a:lnTo>
                  <a:pt x="601" y="499"/>
                </a:lnTo>
                <a:lnTo>
                  <a:pt x="562" y="499"/>
                </a:lnTo>
                <a:lnTo>
                  <a:pt x="541" y="499"/>
                </a:lnTo>
                <a:lnTo>
                  <a:pt x="541" y="518"/>
                </a:lnTo>
                <a:lnTo>
                  <a:pt x="501" y="518"/>
                </a:lnTo>
                <a:lnTo>
                  <a:pt x="482" y="518"/>
                </a:lnTo>
                <a:lnTo>
                  <a:pt x="482" y="536"/>
                </a:lnTo>
                <a:lnTo>
                  <a:pt x="441" y="518"/>
                </a:lnTo>
                <a:lnTo>
                  <a:pt x="422" y="518"/>
                </a:lnTo>
                <a:lnTo>
                  <a:pt x="399" y="518"/>
                </a:lnTo>
                <a:lnTo>
                  <a:pt x="380" y="536"/>
                </a:lnTo>
                <a:lnTo>
                  <a:pt x="380" y="553"/>
                </a:lnTo>
                <a:lnTo>
                  <a:pt x="380" y="572"/>
                </a:lnTo>
                <a:lnTo>
                  <a:pt x="359" y="572"/>
                </a:lnTo>
                <a:lnTo>
                  <a:pt x="359" y="589"/>
                </a:lnTo>
                <a:lnTo>
                  <a:pt x="340" y="609"/>
                </a:lnTo>
                <a:lnTo>
                  <a:pt x="299" y="626"/>
                </a:lnTo>
                <a:lnTo>
                  <a:pt x="280" y="626"/>
                </a:lnTo>
                <a:lnTo>
                  <a:pt x="280" y="662"/>
                </a:lnTo>
                <a:lnTo>
                  <a:pt x="280" y="680"/>
                </a:lnTo>
                <a:lnTo>
                  <a:pt x="280" y="697"/>
                </a:lnTo>
                <a:lnTo>
                  <a:pt x="259" y="697"/>
                </a:lnTo>
                <a:lnTo>
                  <a:pt x="240" y="714"/>
                </a:lnTo>
                <a:lnTo>
                  <a:pt x="221" y="731"/>
                </a:lnTo>
                <a:lnTo>
                  <a:pt x="221" y="751"/>
                </a:lnTo>
                <a:lnTo>
                  <a:pt x="199" y="751"/>
                </a:lnTo>
                <a:lnTo>
                  <a:pt x="180" y="751"/>
                </a:lnTo>
                <a:lnTo>
                  <a:pt x="159" y="751"/>
                </a:lnTo>
                <a:lnTo>
                  <a:pt x="140" y="751"/>
                </a:lnTo>
                <a:lnTo>
                  <a:pt x="100" y="768"/>
                </a:lnTo>
                <a:lnTo>
                  <a:pt x="80" y="751"/>
                </a:lnTo>
                <a:lnTo>
                  <a:pt x="80" y="731"/>
                </a:lnTo>
                <a:lnTo>
                  <a:pt x="40" y="731"/>
                </a:lnTo>
                <a:lnTo>
                  <a:pt x="19" y="731"/>
                </a:lnTo>
                <a:lnTo>
                  <a:pt x="19" y="714"/>
                </a:lnTo>
                <a:lnTo>
                  <a:pt x="19" y="697"/>
                </a:lnTo>
                <a:lnTo>
                  <a:pt x="0" y="697"/>
                </a:lnTo>
                <a:lnTo>
                  <a:pt x="0" y="680"/>
                </a:lnTo>
                <a:lnTo>
                  <a:pt x="0" y="662"/>
                </a:lnTo>
                <a:lnTo>
                  <a:pt x="19" y="643"/>
                </a:lnTo>
                <a:lnTo>
                  <a:pt x="19" y="626"/>
                </a:lnTo>
                <a:lnTo>
                  <a:pt x="19" y="609"/>
                </a:lnTo>
                <a:lnTo>
                  <a:pt x="19" y="572"/>
                </a:lnTo>
                <a:lnTo>
                  <a:pt x="19" y="553"/>
                </a:lnTo>
                <a:lnTo>
                  <a:pt x="0" y="536"/>
                </a:lnTo>
                <a:lnTo>
                  <a:pt x="19" y="536"/>
                </a:lnTo>
                <a:lnTo>
                  <a:pt x="19" y="518"/>
                </a:lnTo>
                <a:lnTo>
                  <a:pt x="40" y="518"/>
                </a:lnTo>
                <a:lnTo>
                  <a:pt x="59" y="518"/>
                </a:lnTo>
                <a:lnTo>
                  <a:pt x="80" y="518"/>
                </a:lnTo>
                <a:lnTo>
                  <a:pt x="100" y="518"/>
                </a:lnTo>
                <a:lnTo>
                  <a:pt x="119" y="518"/>
                </a:lnTo>
                <a:lnTo>
                  <a:pt x="140" y="518"/>
                </a:lnTo>
                <a:lnTo>
                  <a:pt x="159" y="518"/>
                </a:lnTo>
                <a:lnTo>
                  <a:pt x="180" y="518"/>
                </a:lnTo>
                <a:lnTo>
                  <a:pt x="199" y="518"/>
                </a:lnTo>
                <a:lnTo>
                  <a:pt x="221" y="518"/>
                </a:lnTo>
                <a:lnTo>
                  <a:pt x="240" y="518"/>
                </a:lnTo>
                <a:lnTo>
                  <a:pt x="259" y="499"/>
                </a:lnTo>
                <a:lnTo>
                  <a:pt x="259" y="482"/>
                </a:lnTo>
                <a:lnTo>
                  <a:pt x="259" y="465"/>
                </a:lnTo>
                <a:lnTo>
                  <a:pt x="259" y="446"/>
                </a:lnTo>
                <a:lnTo>
                  <a:pt x="259" y="428"/>
                </a:lnTo>
                <a:lnTo>
                  <a:pt x="240" y="428"/>
                </a:lnTo>
                <a:lnTo>
                  <a:pt x="221" y="409"/>
                </a:lnTo>
                <a:lnTo>
                  <a:pt x="221" y="392"/>
                </a:lnTo>
                <a:lnTo>
                  <a:pt x="180" y="375"/>
                </a:lnTo>
                <a:lnTo>
                  <a:pt x="159" y="375"/>
                </a:lnTo>
                <a:lnTo>
                  <a:pt x="159" y="357"/>
                </a:lnTo>
                <a:lnTo>
                  <a:pt x="140" y="357"/>
                </a:lnTo>
                <a:lnTo>
                  <a:pt x="159" y="340"/>
                </a:lnTo>
                <a:lnTo>
                  <a:pt x="180" y="340"/>
                </a:lnTo>
                <a:lnTo>
                  <a:pt x="199" y="340"/>
                </a:lnTo>
                <a:lnTo>
                  <a:pt x="221" y="340"/>
                </a:lnTo>
                <a:lnTo>
                  <a:pt x="240" y="340"/>
                </a:lnTo>
                <a:lnTo>
                  <a:pt x="221" y="340"/>
                </a:lnTo>
                <a:lnTo>
                  <a:pt x="221" y="323"/>
                </a:lnTo>
                <a:lnTo>
                  <a:pt x="221" y="303"/>
                </a:lnTo>
                <a:lnTo>
                  <a:pt x="240" y="303"/>
                </a:lnTo>
                <a:lnTo>
                  <a:pt x="259" y="323"/>
                </a:lnTo>
                <a:lnTo>
                  <a:pt x="280" y="323"/>
                </a:lnTo>
                <a:lnTo>
                  <a:pt x="280" y="303"/>
                </a:lnTo>
                <a:lnTo>
                  <a:pt x="320" y="303"/>
                </a:lnTo>
                <a:lnTo>
                  <a:pt x="340" y="286"/>
                </a:lnTo>
                <a:lnTo>
                  <a:pt x="340" y="269"/>
                </a:lnTo>
                <a:lnTo>
                  <a:pt x="359" y="269"/>
                </a:lnTo>
                <a:lnTo>
                  <a:pt x="380" y="250"/>
                </a:lnTo>
                <a:lnTo>
                  <a:pt x="399" y="250"/>
                </a:lnTo>
                <a:lnTo>
                  <a:pt x="422" y="232"/>
                </a:lnTo>
                <a:lnTo>
                  <a:pt x="422" y="213"/>
                </a:lnTo>
                <a:lnTo>
                  <a:pt x="422" y="196"/>
                </a:lnTo>
                <a:lnTo>
                  <a:pt x="441" y="179"/>
                </a:lnTo>
                <a:lnTo>
                  <a:pt x="462" y="160"/>
                </a:lnTo>
                <a:lnTo>
                  <a:pt x="482" y="160"/>
                </a:lnTo>
                <a:lnTo>
                  <a:pt x="501" y="160"/>
                </a:lnTo>
                <a:lnTo>
                  <a:pt x="522" y="160"/>
                </a:lnTo>
                <a:lnTo>
                  <a:pt x="541" y="160"/>
                </a:lnTo>
                <a:lnTo>
                  <a:pt x="562" y="160"/>
                </a:lnTo>
                <a:lnTo>
                  <a:pt x="562" y="142"/>
                </a:lnTo>
                <a:lnTo>
                  <a:pt x="562" y="125"/>
                </a:lnTo>
                <a:lnTo>
                  <a:pt x="562" y="106"/>
                </a:lnTo>
                <a:lnTo>
                  <a:pt x="541" y="89"/>
                </a:lnTo>
                <a:lnTo>
                  <a:pt x="541" y="52"/>
                </a:lnTo>
                <a:lnTo>
                  <a:pt x="541" y="35"/>
                </a:lnTo>
                <a:lnTo>
                  <a:pt x="562" y="16"/>
                </a:lnTo>
                <a:lnTo>
                  <a:pt x="601" y="0"/>
                </a:lnTo>
                <a:lnTo>
                  <a:pt x="601" y="16"/>
                </a:lnTo>
                <a:lnTo>
                  <a:pt x="601" y="35"/>
                </a:lnTo>
                <a:lnTo>
                  <a:pt x="622" y="35"/>
                </a:lnTo>
                <a:lnTo>
                  <a:pt x="622" y="52"/>
                </a:lnTo>
                <a:lnTo>
                  <a:pt x="601" y="69"/>
                </a:lnTo>
                <a:lnTo>
                  <a:pt x="581" y="89"/>
                </a:lnTo>
                <a:lnTo>
                  <a:pt x="581" y="106"/>
                </a:lnTo>
                <a:lnTo>
                  <a:pt x="601" y="125"/>
                </a:lnTo>
                <a:lnTo>
                  <a:pt x="581" y="125"/>
                </a:lnTo>
                <a:lnTo>
                  <a:pt x="601" y="125"/>
                </a:lnTo>
                <a:lnTo>
                  <a:pt x="622" y="125"/>
                </a:lnTo>
                <a:lnTo>
                  <a:pt x="622" y="142"/>
                </a:lnTo>
                <a:lnTo>
                  <a:pt x="641" y="142"/>
                </a:lnTo>
                <a:lnTo>
                  <a:pt x="681" y="125"/>
                </a:lnTo>
                <a:lnTo>
                  <a:pt x="702" y="125"/>
                </a:lnTo>
                <a:lnTo>
                  <a:pt x="681" y="125"/>
                </a:lnTo>
                <a:lnTo>
                  <a:pt x="681" y="142"/>
                </a:lnTo>
                <a:lnTo>
                  <a:pt x="702" y="160"/>
                </a:lnTo>
                <a:lnTo>
                  <a:pt x="722" y="160"/>
                </a:lnTo>
                <a:lnTo>
                  <a:pt x="722" y="142"/>
                </a:lnTo>
                <a:lnTo>
                  <a:pt x="741" y="142"/>
                </a:lnTo>
                <a:lnTo>
                  <a:pt x="762" y="142"/>
                </a:lnTo>
                <a:lnTo>
                  <a:pt x="781" y="125"/>
                </a:lnTo>
                <a:lnTo>
                  <a:pt x="802" y="125"/>
                </a:lnTo>
                <a:lnTo>
                  <a:pt x="802" y="106"/>
                </a:lnTo>
                <a:lnTo>
                  <a:pt x="821" y="106"/>
                </a:lnTo>
                <a:lnTo>
                  <a:pt x="841" y="106"/>
                </a:lnTo>
                <a:lnTo>
                  <a:pt x="862" y="106"/>
                </a:lnTo>
                <a:lnTo>
                  <a:pt x="862" y="125"/>
                </a:lnTo>
                <a:lnTo>
                  <a:pt x="841" y="125"/>
                </a:lnTo>
                <a:lnTo>
                  <a:pt x="862" y="125"/>
                </a:lnTo>
                <a:lnTo>
                  <a:pt x="881" y="125"/>
                </a:lnTo>
                <a:lnTo>
                  <a:pt x="923" y="125"/>
                </a:lnTo>
                <a:lnTo>
                  <a:pt x="944" y="125"/>
                </a:lnTo>
                <a:lnTo>
                  <a:pt x="963" y="125"/>
                </a:lnTo>
                <a:lnTo>
                  <a:pt x="983" y="125"/>
                </a:lnTo>
                <a:lnTo>
                  <a:pt x="1004" y="160"/>
                </a:lnTo>
                <a:lnTo>
                  <a:pt x="1004" y="179"/>
                </a:lnTo>
                <a:lnTo>
                  <a:pt x="1004" y="196"/>
                </a:lnTo>
                <a:lnTo>
                  <a:pt x="983" y="213"/>
                </a:lnTo>
                <a:lnTo>
                  <a:pt x="1004" y="213"/>
                </a:lnTo>
                <a:lnTo>
                  <a:pt x="1004" y="250"/>
                </a:lnTo>
                <a:lnTo>
                  <a:pt x="1004" y="269"/>
                </a:lnTo>
                <a:lnTo>
                  <a:pt x="1004" y="286"/>
                </a:lnTo>
                <a:lnTo>
                  <a:pt x="983" y="286"/>
                </a:lnTo>
                <a:lnTo>
                  <a:pt x="963" y="303"/>
                </a:lnTo>
                <a:lnTo>
                  <a:pt x="963" y="323"/>
                </a:lnTo>
                <a:lnTo>
                  <a:pt x="963" y="340"/>
                </a:lnTo>
                <a:lnTo>
                  <a:pt x="963" y="357"/>
                </a:lnTo>
                <a:lnTo>
                  <a:pt x="1004" y="357"/>
                </a:lnTo>
                <a:lnTo>
                  <a:pt x="1044" y="357"/>
                </a:lnTo>
                <a:lnTo>
                  <a:pt x="1063" y="340"/>
                </a:lnTo>
                <a:lnTo>
                  <a:pt x="1084" y="340"/>
                </a:lnTo>
                <a:lnTo>
                  <a:pt x="1104" y="357"/>
                </a:lnTo>
                <a:lnTo>
                  <a:pt x="1123" y="392"/>
                </a:lnTo>
                <a:lnTo>
                  <a:pt x="1144" y="392"/>
                </a:lnTo>
                <a:lnTo>
                  <a:pt x="1144" y="409"/>
                </a:lnTo>
                <a:lnTo>
                  <a:pt x="1144" y="428"/>
                </a:lnTo>
                <a:lnTo>
                  <a:pt x="1144" y="446"/>
                </a:lnTo>
                <a:lnTo>
                  <a:pt x="1163" y="446"/>
                </a:lnTo>
                <a:lnTo>
                  <a:pt x="1184" y="446"/>
                </a:lnTo>
                <a:lnTo>
                  <a:pt x="1163" y="446"/>
                </a:lnTo>
                <a:lnTo>
                  <a:pt x="1163" y="465"/>
                </a:lnTo>
                <a:lnTo>
                  <a:pt x="1144" y="465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0" name="Freeform 104"/>
          <p:cNvSpPr>
            <a:spLocks/>
          </p:cNvSpPr>
          <p:nvPr/>
        </p:nvSpPr>
        <p:spPr bwMode="gray">
          <a:xfrm>
            <a:off x="4294188" y="2449513"/>
            <a:ext cx="546100" cy="500062"/>
          </a:xfrm>
          <a:custGeom>
            <a:avLst/>
            <a:gdLst>
              <a:gd name="T0" fmla="*/ 2147483647 w 782"/>
              <a:gd name="T1" fmla="*/ 2147483647 h 697"/>
              <a:gd name="T2" fmla="*/ 2147483647 w 782"/>
              <a:gd name="T3" fmla="*/ 2147483647 h 697"/>
              <a:gd name="T4" fmla="*/ 2147483647 w 782"/>
              <a:gd name="T5" fmla="*/ 2147483647 h 697"/>
              <a:gd name="T6" fmla="*/ 2147483647 w 782"/>
              <a:gd name="T7" fmla="*/ 2147483647 h 697"/>
              <a:gd name="T8" fmla="*/ 0 w 782"/>
              <a:gd name="T9" fmla="*/ 2147483647 h 697"/>
              <a:gd name="T10" fmla="*/ 0 w 782"/>
              <a:gd name="T11" fmla="*/ 2147483647 h 697"/>
              <a:gd name="T12" fmla="*/ 2147483647 w 782"/>
              <a:gd name="T13" fmla="*/ 2147483647 h 697"/>
              <a:gd name="T14" fmla="*/ 2147483647 w 782"/>
              <a:gd name="T15" fmla="*/ 2147483647 h 697"/>
              <a:gd name="T16" fmla="*/ 2147483647 w 782"/>
              <a:gd name="T17" fmla="*/ 2147483647 h 697"/>
              <a:gd name="T18" fmla="*/ 2147483647 w 782"/>
              <a:gd name="T19" fmla="*/ 2147483647 h 697"/>
              <a:gd name="T20" fmla="*/ 2147483647 w 782"/>
              <a:gd name="T21" fmla="*/ 2147483647 h 697"/>
              <a:gd name="T22" fmla="*/ 2147483647 w 782"/>
              <a:gd name="T23" fmla="*/ 2147483647 h 697"/>
              <a:gd name="T24" fmla="*/ 2147483647 w 782"/>
              <a:gd name="T25" fmla="*/ 2147483647 h 697"/>
              <a:gd name="T26" fmla="*/ 2147483647 w 782"/>
              <a:gd name="T27" fmla="*/ 2147483647 h 697"/>
              <a:gd name="T28" fmla="*/ 2147483647 w 782"/>
              <a:gd name="T29" fmla="*/ 2147483647 h 697"/>
              <a:gd name="T30" fmla="*/ 2147483647 w 782"/>
              <a:gd name="T31" fmla="*/ 2147483647 h 697"/>
              <a:gd name="T32" fmla="*/ 2147483647 w 782"/>
              <a:gd name="T33" fmla="*/ 2147483647 h 697"/>
              <a:gd name="T34" fmla="*/ 2147483647 w 782"/>
              <a:gd name="T35" fmla="*/ 2147483647 h 697"/>
              <a:gd name="T36" fmla="*/ 2147483647 w 782"/>
              <a:gd name="T37" fmla="*/ 2147483647 h 697"/>
              <a:gd name="T38" fmla="*/ 2147483647 w 782"/>
              <a:gd name="T39" fmla="*/ 2147483647 h 697"/>
              <a:gd name="T40" fmla="*/ 2147483647 w 782"/>
              <a:gd name="T41" fmla="*/ 2147483647 h 697"/>
              <a:gd name="T42" fmla="*/ 2147483647 w 782"/>
              <a:gd name="T43" fmla="*/ 0 h 697"/>
              <a:gd name="T44" fmla="*/ 2147483647 w 782"/>
              <a:gd name="T45" fmla="*/ 2147483647 h 697"/>
              <a:gd name="T46" fmla="*/ 2147483647 w 782"/>
              <a:gd name="T47" fmla="*/ 2147483647 h 697"/>
              <a:gd name="T48" fmla="*/ 2147483647 w 782"/>
              <a:gd name="T49" fmla="*/ 2147483647 h 697"/>
              <a:gd name="T50" fmla="*/ 2147483647 w 782"/>
              <a:gd name="T51" fmla="*/ 2147483647 h 697"/>
              <a:gd name="T52" fmla="*/ 2147483647 w 782"/>
              <a:gd name="T53" fmla="*/ 2147483647 h 697"/>
              <a:gd name="T54" fmla="*/ 2147483647 w 782"/>
              <a:gd name="T55" fmla="*/ 2147483647 h 697"/>
              <a:gd name="T56" fmla="*/ 2147483647 w 782"/>
              <a:gd name="T57" fmla="*/ 2147483647 h 697"/>
              <a:gd name="T58" fmla="*/ 2147483647 w 782"/>
              <a:gd name="T59" fmla="*/ 2147483647 h 697"/>
              <a:gd name="T60" fmla="*/ 2147483647 w 782"/>
              <a:gd name="T61" fmla="*/ 2147483647 h 697"/>
              <a:gd name="T62" fmla="*/ 2147483647 w 782"/>
              <a:gd name="T63" fmla="*/ 2147483647 h 697"/>
              <a:gd name="T64" fmla="*/ 2147483647 w 782"/>
              <a:gd name="T65" fmla="*/ 2147483647 h 697"/>
              <a:gd name="T66" fmla="*/ 2147483647 w 782"/>
              <a:gd name="T67" fmla="*/ 2147483647 h 697"/>
              <a:gd name="T68" fmla="*/ 2147483647 w 782"/>
              <a:gd name="T69" fmla="*/ 2147483647 h 697"/>
              <a:gd name="T70" fmla="*/ 2147483647 w 782"/>
              <a:gd name="T71" fmla="*/ 2147483647 h 697"/>
              <a:gd name="T72" fmla="*/ 2147483647 w 782"/>
              <a:gd name="T73" fmla="*/ 2147483647 h 697"/>
              <a:gd name="T74" fmla="*/ 2147483647 w 782"/>
              <a:gd name="T75" fmla="*/ 2147483647 h 697"/>
              <a:gd name="T76" fmla="*/ 2147483647 w 782"/>
              <a:gd name="T77" fmla="*/ 2147483647 h 697"/>
              <a:gd name="T78" fmla="*/ 2147483647 w 782"/>
              <a:gd name="T79" fmla="*/ 2147483647 h 697"/>
              <a:gd name="T80" fmla="*/ 2147483647 w 782"/>
              <a:gd name="T81" fmla="*/ 2147483647 h 697"/>
              <a:gd name="T82" fmla="*/ 2147483647 w 782"/>
              <a:gd name="T83" fmla="*/ 2147483647 h 697"/>
              <a:gd name="T84" fmla="*/ 2147483647 w 782"/>
              <a:gd name="T85" fmla="*/ 2147483647 h 697"/>
              <a:gd name="T86" fmla="*/ 2147483647 w 782"/>
              <a:gd name="T87" fmla="*/ 2147483647 h 697"/>
              <a:gd name="T88" fmla="*/ 2147483647 w 782"/>
              <a:gd name="T89" fmla="*/ 2147483647 h 697"/>
              <a:gd name="T90" fmla="*/ 2147483647 w 782"/>
              <a:gd name="T91" fmla="*/ 2147483647 h 697"/>
              <a:gd name="T92" fmla="*/ 2147483647 w 782"/>
              <a:gd name="T93" fmla="*/ 2147483647 h 697"/>
              <a:gd name="T94" fmla="*/ 2147483647 w 782"/>
              <a:gd name="T95" fmla="*/ 2147483647 h 697"/>
              <a:gd name="T96" fmla="*/ 2147483647 w 782"/>
              <a:gd name="T97" fmla="*/ 2147483647 h 697"/>
              <a:gd name="T98" fmla="*/ 2147483647 w 782"/>
              <a:gd name="T99" fmla="*/ 2147483647 h 697"/>
              <a:gd name="T100" fmla="*/ 2147483647 w 782"/>
              <a:gd name="T101" fmla="*/ 2147483647 h 697"/>
              <a:gd name="T102" fmla="*/ 2147483647 w 782"/>
              <a:gd name="T103" fmla="*/ 2147483647 h 697"/>
              <a:gd name="T104" fmla="*/ 2147483647 w 782"/>
              <a:gd name="T105" fmla="*/ 2147483647 h 697"/>
              <a:gd name="T106" fmla="*/ 2147483647 w 782"/>
              <a:gd name="T107" fmla="*/ 2147483647 h 697"/>
              <a:gd name="T108" fmla="*/ 2147483647 w 782"/>
              <a:gd name="T109" fmla="*/ 2147483647 h 697"/>
              <a:gd name="T110" fmla="*/ 2147483647 w 782"/>
              <a:gd name="T111" fmla="*/ 2147483647 h 697"/>
              <a:gd name="T112" fmla="*/ 2147483647 w 782"/>
              <a:gd name="T113" fmla="*/ 2147483647 h 697"/>
              <a:gd name="T114" fmla="*/ 2147483647 w 782"/>
              <a:gd name="T115" fmla="*/ 2147483647 h 697"/>
              <a:gd name="T116" fmla="*/ 2147483647 w 782"/>
              <a:gd name="T117" fmla="*/ 2147483647 h 697"/>
              <a:gd name="T118" fmla="*/ 2147483647 w 782"/>
              <a:gd name="T119" fmla="*/ 2147483647 h 69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82"/>
              <a:gd name="T181" fmla="*/ 0 h 697"/>
              <a:gd name="T182" fmla="*/ 782 w 782"/>
              <a:gd name="T183" fmla="*/ 697 h 69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82" h="697">
                <a:moveTo>
                  <a:pt x="181" y="518"/>
                </a:moveTo>
                <a:lnTo>
                  <a:pt x="160" y="501"/>
                </a:lnTo>
                <a:lnTo>
                  <a:pt x="140" y="538"/>
                </a:lnTo>
                <a:lnTo>
                  <a:pt x="100" y="574"/>
                </a:lnTo>
                <a:lnTo>
                  <a:pt x="60" y="574"/>
                </a:lnTo>
                <a:lnTo>
                  <a:pt x="41" y="574"/>
                </a:lnTo>
                <a:lnTo>
                  <a:pt x="21" y="555"/>
                </a:lnTo>
                <a:lnTo>
                  <a:pt x="0" y="538"/>
                </a:lnTo>
                <a:lnTo>
                  <a:pt x="21" y="538"/>
                </a:lnTo>
                <a:lnTo>
                  <a:pt x="21" y="518"/>
                </a:lnTo>
                <a:lnTo>
                  <a:pt x="41" y="518"/>
                </a:lnTo>
                <a:lnTo>
                  <a:pt x="21" y="518"/>
                </a:lnTo>
                <a:lnTo>
                  <a:pt x="0" y="518"/>
                </a:lnTo>
                <a:lnTo>
                  <a:pt x="21" y="501"/>
                </a:lnTo>
                <a:lnTo>
                  <a:pt x="0" y="465"/>
                </a:lnTo>
                <a:lnTo>
                  <a:pt x="0" y="447"/>
                </a:lnTo>
                <a:lnTo>
                  <a:pt x="0" y="430"/>
                </a:lnTo>
                <a:lnTo>
                  <a:pt x="0" y="411"/>
                </a:lnTo>
                <a:lnTo>
                  <a:pt x="21" y="411"/>
                </a:lnTo>
                <a:lnTo>
                  <a:pt x="21" y="394"/>
                </a:lnTo>
                <a:lnTo>
                  <a:pt x="41" y="394"/>
                </a:lnTo>
                <a:lnTo>
                  <a:pt x="41" y="374"/>
                </a:lnTo>
                <a:lnTo>
                  <a:pt x="81" y="374"/>
                </a:lnTo>
                <a:lnTo>
                  <a:pt x="100" y="357"/>
                </a:lnTo>
                <a:lnTo>
                  <a:pt x="121" y="340"/>
                </a:lnTo>
                <a:lnTo>
                  <a:pt x="140" y="340"/>
                </a:lnTo>
                <a:lnTo>
                  <a:pt x="121" y="340"/>
                </a:lnTo>
                <a:lnTo>
                  <a:pt x="160" y="321"/>
                </a:lnTo>
                <a:lnTo>
                  <a:pt x="181" y="286"/>
                </a:lnTo>
                <a:lnTo>
                  <a:pt x="200" y="286"/>
                </a:lnTo>
                <a:lnTo>
                  <a:pt x="221" y="267"/>
                </a:lnTo>
                <a:lnTo>
                  <a:pt x="221" y="250"/>
                </a:lnTo>
                <a:lnTo>
                  <a:pt x="240" y="250"/>
                </a:lnTo>
                <a:lnTo>
                  <a:pt x="240" y="232"/>
                </a:lnTo>
                <a:lnTo>
                  <a:pt x="240" y="215"/>
                </a:lnTo>
                <a:lnTo>
                  <a:pt x="261" y="198"/>
                </a:lnTo>
                <a:lnTo>
                  <a:pt x="300" y="179"/>
                </a:lnTo>
                <a:lnTo>
                  <a:pt x="321" y="179"/>
                </a:lnTo>
                <a:lnTo>
                  <a:pt x="340" y="144"/>
                </a:lnTo>
                <a:lnTo>
                  <a:pt x="361" y="108"/>
                </a:lnTo>
                <a:lnTo>
                  <a:pt x="321" y="125"/>
                </a:lnTo>
                <a:lnTo>
                  <a:pt x="281" y="144"/>
                </a:lnTo>
                <a:lnTo>
                  <a:pt x="300" y="125"/>
                </a:lnTo>
                <a:lnTo>
                  <a:pt x="321" y="125"/>
                </a:lnTo>
                <a:lnTo>
                  <a:pt x="300" y="125"/>
                </a:lnTo>
                <a:lnTo>
                  <a:pt x="300" y="108"/>
                </a:lnTo>
                <a:lnTo>
                  <a:pt x="321" y="108"/>
                </a:lnTo>
                <a:lnTo>
                  <a:pt x="340" y="108"/>
                </a:lnTo>
                <a:lnTo>
                  <a:pt x="361" y="108"/>
                </a:lnTo>
                <a:lnTo>
                  <a:pt x="380" y="125"/>
                </a:lnTo>
                <a:lnTo>
                  <a:pt x="380" y="108"/>
                </a:lnTo>
                <a:lnTo>
                  <a:pt x="380" y="88"/>
                </a:lnTo>
                <a:lnTo>
                  <a:pt x="400" y="88"/>
                </a:lnTo>
                <a:lnTo>
                  <a:pt x="421" y="71"/>
                </a:lnTo>
                <a:lnTo>
                  <a:pt x="400" y="71"/>
                </a:lnTo>
                <a:lnTo>
                  <a:pt x="421" y="54"/>
                </a:lnTo>
                <a:lnTo>
                  <a:pt x="421" y="71"/>
                </a:lnTo>
                <a:lnTo>
                  <a:pt x="440" y="54"/>
                </a:lnTo>
                <a:lnTo>
                  <a:pt x="463" y="54"/>
                </a:lnTo>
                <a:lnTo>
                  <a:pt x="482" y="54"/>
                </a:lnTo>
                <a:lnTo>
                  <a:pt x="503" y="54"/>
                </a:lnTo>
                <a:lnTo>
                  <a:pt x="522" y="35"/>
                </a:lnTo>
                <a:lnTo>
                  <a:pt x="503" y="35"/>
                </a:lnTo>
                <a:lnTo>
                  <a:pt x="503" y="17"/>
                </a:lnTo>
                <a:lnTo>
                  <a:pt x="522" y="17"/>
                </a:lnTo>
                <a:lnTo>
                  <a:pt x="542" y="0"/>
                </a:lnTo>
                <a:lnTo>
                  <a:pt x="542" y="17"/>
                </a:lnTo>
                <a:lnTo>
                  <a:pt x="563" y="17"/>
                </a:lnTo>
                <a:lnTo>
                  <a:pt x="582" y="17"/>
                </a:lnTo>
                <a:lnTo>
                  <a:pt x="603" y="0"/>
                </a:lnTo>
                <a:lnTo>
                  <a:pt x="622" y="17"/>
                </a:lnTo>
                <a:lnTo>
                  <a:pt x="603" y="35"/>
                </a:lnTo>
                <a:lnTo>
                  <a:pt x="582" y="54"/>
                </a:lnTo>
                <a:lnTo>
                  <a:pt x="622" y="35"/>
                </a:lnTo>
                <a:lnTo>
                  <a:pt x="622" y="17"/>
                </a:lnTo>
                <a:lnTo>
                  <a:pt x="643" y="17"/>
                </a:lnTo>
                <a:lnTo>
                  <a:pt x="643" y="35"/>
                </a:lnTo>
                <a:lnTo>
                  <a:pt x="663" y="17"/>
                </a:lnTo>
                <a:lnTo>
                  <a:pt x="682" y="17"/>
                </a:lnTo>
                <a:lnTo>
                  <a:pt x="682" y="0"/>
                </a:lnTo>
                <a:lnTo>
                  <a:pt x="703" y="17"/>
                </a:lnTo>
                <a:lnTo>
                  <a:pt x="703" y="35"/>
                </a:lnTo>
                <a:lnTo>
                  <a:pt x="703" y="17"/>
                </a:lnTo>
                <a:lnTo>
                  <a:pt x="722" y="17"/>
                </a:lnTo>
                <a:lnTo>
                  <a:pt x="743" y="17"/>
                </a:lnTo>
                <a:lnTo>
                  <a:pt x="762" y="35"/>
                </a:lnTo>
                <a:lnTo>
                  <a:pt x="743" y="54"/>
                </a:lnTo>
                <a:lnTo>
                  <a:pt x="722" y="54"/>
                </a:lnTo>
                <a:lnTo>
                  <a:pt x="703" y="54"/>
                </a:lnTo>
                <a:lnTo>
                  <a:pt x="722" y="54"/>
                </a:lnTo>
                <a:lnTo>
                  <a:pt x="743" y="71"/>
                </a:lnTo>
                <a:lnTo>
                  <a:pt x="762" y="71"/>
                </a:lnTo>
                <a:lnTo>
                  <a:pt x="743" y="88"/>
                </a:lnTo>
                <a:lnTo>
                  <a:pt x="722" y="108"/>
                </a:lnTo>
                <a:lnTo>
                  <a:pt x="703" y="108"/>
                </a:lnTo>
                <a:lnTo>
                  <a:pt x="722" y="125"/>
                </a:lnTo>
                <a:lnTo>
                  <a:pt x="743" y="144"/>
                </a:lnTo>
                <a:lnTo>
                  <a:pt x="743" y="161"/>
                </a:lnTo>
                <a:lnTo>
                  <a:pt x="743" y="179"/>
                </a:lnTo>
                <a:lnTo>
                  <a:pt x="722" y="179"/>
                </a:lnTo>
                <a:lnTo>
                  <a:pt x="722" y="198"/>
                </a:lnTo>
                <a:lnTo>
                  <a:pt x="722" y="215"/>
                </a:lnTo>
                <a:lnTo>
                  <a:pt x="743" y="232"/>
                </a:lnTo>
                <a:lnTo>
                  <a:pt x="762" y="250"/>
                </a:lnTo>
                <a:lnTo>
                  <a:pt x="743" y="250"/>
                </a:lnTo>
                <a:lnTo>
                  <a:pt x="743" y="267"/>
                </a:lnTo>
                <a:lnTo>
                  <a:pt x="743" y="286"/>
                </a:lnTo>
                <a:lnTo>
                  <a:pt x="762" y="286"/>
                </a:lnTo>
                <a:lnTo>
                  <a:pt x="762" y="303"/>
                </a:lnTo>
                <a:lnTo>
                  <a:pt x="762" y="321"/>
                </a:lnTo>
                <a:lnTo>
                  <a:pt x="762" y="340"/>
                </a:lnTo>
                <a:lnTo>
                  <a:pt x="782" y="340"/>
                </a:lnTo>
                <a:lnTo>
                  <a:pt x="782" y="357"/>
                </a:lnTo>
                <a:lnTo>
                  <a:pt x="762" y="394"/>
                </a:lnTo>
                <a:lnTo>
                  <a:pt x="722" y="430"/>
                </a:lnTo>
                <a:lnTo>
                  <a:pt x="703" y="447"/>
                </a:lnTo>
                <a:lnTo>
                  <a:pt x="682" y="465"/>
                </a:lnTo>
                <a:lnTo>
                  <a:pt x="622" y="484"/>
                </a:lnTo>
                <a:lnTo>
                  <a:pt x="582" y="484"/>
                </a:lnTo>
                <a:lnTo>
                  <a:pt x="563" y="484"/>
                </a:lnTo>
                <a:lnTo>
                  <a:pt x="542" y="501"/>
                </a:lnTo>
                <a:lnTo>
                  <a:pt x="522" y="484"/>
                </a:lnTo>
                <a:lnTo>
                  <a:pt x="503" y="465"/>
                </a:lnTo>
                <a:lnTo>
                  <a:pt x="482" y="465"/>
                </a:lnTo>
                <a:lnTo>
                  <a:pt x="482" y="447"/>
                </a:lnTo>
                <a:lnTo>
                  <a:pt x="482" y="430"/>
                </a:lnTo>
                <a:lnTo>
                  <a:pt x="503" y="430"/>
                </a:lnTo>
                <a:lnTo>
                  <a:pt x="482" y="411"/>
                </a:lnTo>
                <a:lnTo>
                  <a:pt x="482" y="394"/>
                </a:lnTo>
                <a:lnTo>
                  <a:pt x="463" y="394"/>
                </a:lnTo>
                <a:lnTo>
                  <a:pt x="463" y="374"/>
                </a:lnTo>
                <a:lnTo>
                  <a:pt x="482" y="374"/>
                </a:lnTo>
                <a:lnTo>
                  <a:pt x="463" y="374"/>
                </a:lnTo>
                <a:lnTo>
                  <a:pt x="503" y="357"/>
                </a:lnTo>
                <a:lnTo>
                  <a:pt x="542" y="321"/>
                </a:lnTo>
                <a:lnTo>
                  <a:pt x="563" y="303"/>
                </a:lnTo>
                <a:lnTo>
                  <a:pt x="582" y="286"/>
                </a:lnTo>
                <a:lnTo>
                  <a:pt x="603" y="286"/>
                </a:lnTo>
                <a:lnTo>
                  <a:pt x="622" y="286"/>
                </a:lnTo>
                <a:lnTo>
                  <a:pt x="603" y="267"/>
                </a:lnTo>
                <a:lnTo>
                  <a:pt x="563" y="267"/>
                </a:lnTo>
                <a:lnTo>
                  <a:pt x="542" y="250"/>
                </a:lnTo>
                <a:lnTo>
                  <a:pt x="503" y="267"/>
                </a:lnTo>
                <a:lnTo>
                  <a:pt x="503" y="286"/>
                </a:lnTo>
                <a:lnTo>
                  <a:pt x="482" y="286"/>
                </a:lnTo>
                <a:lnTo>
                  <a:pt x="482" y="303"/>
                </a:lnTo>
                <a:lnTo>
                  <a:pt x="463" y="321"/>
                </a:lnTo>
                <a:lnTo>
                  <a:pt x="421" y="340"/>
                </a:lnTo>
                <a:lnTo>
                  <a:pt x="421" y="357"/>
                </a:lnTo>
                <a:lnTo>
                  <a:pt x="400" y="357"/>
                </a:lnTo>
                <a:lnTo>
                  <a:pt x="380" y="374"/>
                </a:lnTo>
                <a:lnTo>
                  <a:pt x="380" y="394"/>
                </a:lnTo>
                <a:lnTo>
                  <a:pt x="380" y="411"/>
                </a:lnTo>
                <a:lnTo>
                  <a:pt x="361" y="430"/>
                </a:lnTo>
                <a:lnTo>
                  <a:pt x="361" y="447"/>
                </a:lnTo>
                <a:lnTo>
                  <a:pt x="380" y="447"/>
                </a:lnTo>
                <a:lnTo>
                  <a:pt x="380" y="465"/>
                </a:lnTo>
                <a:lnTo>
                  <a:pt x="421" y="484"/>
                </a:lnTo>
                <a:lnTo>
                  <a:pt x="421" y="501"/>
                </a:lnTo>
                <a:lnTo>
                  <a:pt x="400" y="518"/>
                </a:lnTo>
                <a:lnTo>
                  <a:pt x="380" y="538"/>
                </a:lnTo>
                <a:lnTo>
                  <a:pt x="361" y="555"/>
                </a:lnTo>
                <a:lnTo>
                  <a:pt x="340" y="574"/>
                </a:lnTo>
                <a:lnTo>
                  <a:pt x="340" y="591"/>
                </a:lnTo>
                <a:lnTo>
                  <a:pt x="361" y="607"/>
                </a:lnTo>
                <a:lnTo>
                  <a:pt x="361" y="626"/>
                </a:lnTo>
                <a:lnTo>
                  <a:pt x="340" y="626"/>
                </a:lnTo>
                <a:lnTo>
                  <a:pt x="321" y="643"/>
                </a:lnTo>
                <a:lnTo>
                  <a:pt x="300" y="643"/>
                </a:lnTo>
                <a:lnTo>
                  <a:pt x="281" y="660"/>
                </a:lnTo>
                <a:lnTo>
                  <a:pt x="261" y="680"/>
                </a:lnTo>
                <a:lnTo>
                  <a:pt x="240" y="697"/>
                </a:lnTo>
                <a:lnTo>
                  <a:pt x="240" y="680"/>
                </a:lnTo>
                <a:lnTo>
                  <a:pt x="240" y="643"/>
                </a:lnTo>
                <a:lnTo>
                  <a:pt x="221" y="626"/>
                </a:lnTo>
                <a:lnTo>
                  <a:pt x="221" y="607"/>
                </a:lnTo>
                <a:lnTo>
                  <a:pt x="200" y="591"/>
                </a:lnTo>
                <a:lnTo>
                  <a:pt x="200" y="574"/>
                </a:lnTo>
                <a:lnTo>
                  <a:pt x="181" y="574"/>
                </a:lnTo>
                <a:lnTo>
                  <a:pt x="181" y="555"/>
                </a:lnTo>
                <a:lnTo>
                  <a:pt x="181" y="538"/>
                </a:lnTo>
                <a:lnTo>
                  <a:pt x="181" y="518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1" name="Freeform 105"/>
          <p:cNvSpPr>
            <a:spLocks/>
          </p:cNvSpPr>
          <p:nvPr/>
        </p:nvSpPr>
        <p:spPr bwMode="gray">
          <a:xfrm>
            <a:off x="4586288" y="2190750"/>
            <a:ext cx="3695700" cy="1249363"/>
          </a:xfrm>
          <a:custGeom>
            <a:avLst/>
            <a:gdLst>
              <a:gd name="T0" fmla="*/ 2147483647 w 5283"/>
              <a:gd name="T1" fmla="*/ 2147483647 h 1735"/>
              <a:gd name="T2" fmla="*/ 2147483647 w 5283"/>
              <a:gd name="T3" fmla="*/ 2147483647 h 1735"/>
              <a:gd name="T4" fmla="*/ 2147483647 w 5283"/>
              <a:gd name="T5" fmla="*/ 2147483647 h 1735"/>
              <a:gd name="T6" fmla="*/ 2147483647 w 5283"/>
              <a:gd name="T7" fmla="*/ 2147483647 h 1735"/>
              <a:gd name="T8" fmla="*/ 2147483647 w 5283"/>
              <a:gd name="T9" fmla="*/ 2147483647 h 1735"/>
              <a:gd name="T10" fmla="*/ 2147483647 w 5283"/>
              <a:gd name="T11" fmla="*/ 2147483647 h 1735"/>
              <a:gd name="T12" fmla="*/ 2147483647 w 5283"/>
              <a:gd name="T13" fmla="*/ 2147483647 h 1735"/>
              <a:gd name="T14" fmla="*/ 2147483647 w 5283"/>
              <a:gd name="T15" fmla="*/ 2147483647 h 1735"/>
              <a:gd name="T16" fmla="*/ 2147483647 w 5283"/>
              <a:gd name="T17" fmla="*/ 2147483647 h 1735"/>
              <a:gd name="T18" fmla="*/ 2147483647 w 5283"/>
              <a:gd name="T19" fmla="*/ 2147483647 h 1735"/>
              <a:gd name="T20" fmla="*/ 2147483647 w 5283"/>
              <a:gd name="T21" fmla="*/ 2147483647 h 1735"/>
              <a:gd name="T22" fmla="*/ 2147483647 w 5283"/>
              <a:gd name="T23" fmla="*/ 2147483647 h 1735"/>
              <a:gd name="T24" fmla="*/ 2147483647 w 5283"/>
              <a:gd name="T25" fmla="*/ 2147483647 h 1735"/>
              <a:gd name="T26" fmla="*/ 2147483647 w 5283"/>
              <a:gd name="T27" fmla="*/ 2147483647 h 1735"/>
              <a:gd name="T28" fmla="*/ 2147483647 w 5283"/>
              <a:gd name="T29" fmla="*/ 2147483647 h 1735"/>
              <a:gd name="T30" fmla="*/ 2147483647 w 5283"/>
              <a:gd name="T31" fmla="*/ 2147483647 h 1735"/>
              <a:gd name="T32" fmla="*/ 2147483647 w 5283"/>
              <a:gd name="T33" fmla="*/ 2147483647 h 1735"/>
              <a:gd name="T34" fmla="*/ 2147483647 w 5283"/>
              <a:gd name="T35" fmla="*/ 2147483647 h 1735"/>
              <a:gd name="T36" fmla="*/ 2147483647 w 5283"/>
              <a:gd name="T37" fmla="*/ 2147483647 h 1735"/>
              <a:gd name="T38" fmla="*/ 2147483647 w 5283"/>
              <a:gd name="T39" fmla="*/ 2147483647 h 1735"/>
              <a:gd name="T40" fmla="*/ 2147483647 w 5283"/>
              <a:gd name="T41" fmla="*/ 2147483647 h 1735"/>
              <a:gd name="T42" fmla="*/ 2147483647 w 5283"/>
              <a:gd name="T43" fmla="*/ 2147483647 h 1735"/>
              <a:gd name="T44" fmla="*/ 2147483647 w 5283"/>
              <a:gd name="T45" fmla="*/ 2147483647 h 1735"/>
              <a:gd name="T46" fmla="*/ 2147483647 w 5283"/>
              <a:gd name="T47" fmla="*/ 2147483647 h 1735"/>
              <a:gd name="T48" fmla="*/ 2147483647 w 5283"/>
              <a:gd name="T49" fmla="*/ 2147483647 h 1735"/>
              <a:gd name="T50" fmla="*/ 2147483647 w 5283"/>
              <a:gd name="T51" fmla="*/ 2147483647 h 1735"/>
              <a:gd name="T52" fmla="*/ 2147483647 w 5283"/>
              <a:gd name="T53" fmla="*/ 2147483647 h 1735"/>
              <a:gd name="T54" fmla="*/ 2147483647 w 5283"/>
              <a:gd name="T55" fmla="*/ 2147483647 h 1735"/>
              <a:gd name="T56" fmla="*/ 2147483647 w 5283"/>
              <a:gd name="T57" fmla="*/ 2147483647 h 1735"/>
              <a:gd name="T58" fmla="*/ 2147483647 w 5283"/>
              <a:gd name="T59" fmla="*/ 2147483647 h 1735"/>
              <a:gd name="T60" fmla="*/ 2147483647 w 5283"/>
              <a:gd name="T61" fmla="*/ 2147483647 h 1735"/>
              <a:gd name="T62" fmla="*/ 2147483647 w 5283"/>
              <a:gd name="T63" fmla="*/ 2147483647 h 1735"/>
              <a:gd name="T64" fmla="*/ 2147483647 w 5283"/>
              <a:gd name="T65" fmla="*/ 2147483647 h 1735"/>
              <a:gd name="T66" fmla="*/ 2147483647 w 5283"/>
              <a:gd name="T67" fmla="*/ 2147483647 h 1735"/>
              <a:gd name="T68" fmla="*/ 2147483647 w 5283"/>
              <a:gd name="T69" fmla="*/ 2147483647 h 1735"/>
              <a:gd name="T70" fmla="*/ 2147483647 w 5283"/>
              <a:gd name="T71" fmla="*/ 2147483647 h 1735"/>
              <a:gd name="T72" fmla="*/ 2147483647 w 5283"/>
              <a:gd name="T73" fmla="*/ 2147483647 h 1735"/>
              <a:gd name="T74" fmla="*/ 2147483647 w 5283"/>
              <a:gd name="T75" fmla="*/ 2147483647 h 1735"/>
              <a:gd name="T76" fmla="*/ 2147483647 w 5283"/>
              <a:gd name="T77" fmla="*/ 2147483647 h 1735"/>
              <a:gd name="T78" fmla="*/ 2147483647 w 5283"/>
              <a:gd name="T79" fmla="*/ 2147483647 h 1735"/>
              <a:gd name="T80" fmla="*/ 2147483647 w 5283"/>
              <a:gd name="T81" fmla="*/ 2147483647 h 1735"/>
              <a:gd name="T82" fmla="*/ 2147483647 w 5283"/>
              <a:gd name="T83" fmla="*/ 2147483647 h 1735"/>
              <a:gd name="T84" fmla="*/ 2147483647 w 5283"/>
              <a:gd name="T85" fmla="*/ 2147483647 h 1735"/>
              <a:gd name="T86" fmla="*/ 2147483647 w 5283"/>
              <a:gd name="T87" fmla="*/ 2147483647 h 1735"/>
              <a:gd name="T88" fmla="*/ 2147483647 w 5283"/>
              <a:gd name="T89" fmla="*/ 2147483647 h 1735"/>
              <a:gd name="T90" fmla="*/ 2147483647 w 5283"/>
              <a:gd name="T91" fmla="*/ 2147483647 h 1735"/>
              <a:gd name="T92" fmla="*/ 2147483647 w 5283"/>
              <a:gd name="T93" fmla="*/ 2147483647 h 1735"/>
              <a:gd name="T94" fmla="*/ 2147483647 w 5283"/>
              <a:gd name="T95" fmla="*/ 2147483647 h 1735"/>
              <a:gd name="T96" fmla="*/ 2147483647 w 5283"/>
              <a:gd name="T97" fmla="*/ 2147483647 h 1735"/>
              <a:gd name="T98" fmla="*/ 2147483647 w 5283"/>
              <a:gd name="T99" fmla="*/ 2147483647 h 1735"/>
              <a:gd name="T100" fmla="*/ 2147483647 w 5283"/>
              <a:gd name="T101" fmla="*/ 2147483647 h 1735"/>
              <a:gd name="T102" fmla="*/ 2147483647 w 5283"/>
              <a:gd name="T103" fmla="*/ 2147483647 h 1735"/>
              <a:gd name="T104" fmla="*/ 2147483647 w 5283"/>
              <a:gd name="T105" fmla="*/ 2147483647 h 1735"/>
              <a:gd name="T106" fmla="*/ 2147483647 w 5283"/>
              <a:gd name="T107" fmla="*/ 2147483647 h 1735"/>
              <a:gd name="T108" fmla="*/ 2147483647 w 5283"/>
              <a:gd name="T109" fmla="*/ 2147483647 h 1735"/>
              <a:gd name="T110" fmla="*/ 2147483647 w 5283"/>
              <a:gd name="T111" fmla="*/ 2147483647 h 1735"/>
              <a:gd name="T112" fmla="*/ 2147483647 w 5283"/>
              <a:gd name="T113" fmla="*/ 2147483647 h 173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5283"/>
              <a:gd name="T172" fmla="*/ 0 h 1735"/>
              <a:gd name="T173" fmla="*/ 5283 w 5283"/>
              <a:gd name="T174" fmla="*/ 1735 h 173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5283" h="1735">
                <a:moveTo>
                  <a:pt x="3457" y="1486"/>
                </a:moveTo>
                <a:lnTo>
                  <a:pt x="3497" y="1486"/>
                </a:lnTo>
                <a:lnTo>
                  <a:pt x="3536" y="1505"/>
                </a:lnTo>
                <a:lnTo>
                  <a:pt x="3576" y="1486"/>
                </a:lnTo>
                <a:lnTo>
                  <a:pt x="3597" y="1468"/>
                </a:lnTo>
                <a:lnTo>
                  <a:pt x="3637" y="1415"/>
                </a:lnTo>
                <a:lnTo>
                  <a:pt x="3657" y="1378"/>
                </a:lnTo>
                <a:lnTo>
                  <a:pt x="3697" y="1342"/>
                </a:lnTo>
                <a:lnTo>
                  <a:pt x="3716" y="1325"/>
                </a:lnTo>
                <a:lnTo>
                  <a:pt x="3737" y="1290"/>
                </a:lnTo>
                <a:lnTo>
                  <a:pt x="3737" y="1273"/>
                </a:lnTo>
                <a:lnTo>
                  <a:pt x="3737" y="1236"/>
                </a:lnTo>
                <a:lnTo>
                  <a:pt x="3756" y="1236"/>
                </a:lnTo>
                <a:lnTo>
                  <a:pt x="3756" y="1200"/>
                </a:lnTo>
                <a:lnTo>
                  <a:pt x="3776" y="1182"/>
                </a:lnTo>
                <a:lnTo>
                  <a:pt x="3776" y="1165"/>
                </a:lnTo>
                <a:lnTo>
                  <a:pt x="3776" y="1146"/>
                </a:lnTo>
                <a:lnTo>
                  <a:pt x="3756" y="1110"/>
                </a:lnTo>
                <a:lnTo>
                  <a:pt x="3737" y="1092"/>
                </a:lnTo>
                <a:lnTo>
                  <a:pt x="3716" y="1075"/>
                </a:lnTo>
                <a:lnTo>
                  <a:pt x="3657" y="1092"/>
                </a:lnTo>
                <a:lnTo>
                  <a:pt x="3616" y="1075"/>
                </a:lnTo>
                <a:lnTo>
                  <a:pt x="3597" y="1056"/>
                </a:lnTo>
                <a:lnTo>
                  <a:pt x="3637" y="1021"/>
                </a:lnTo>
                <a:lnTo>
                  <a:pt x="3657" y="985"/>
                </a:lnTo>
                <a:lnTo>
                  <a:pt x="3697" y="966"/>
                </a:lnTo>
                <a:lnTo>
                  <a:pt x="3737" y="933"/>
                </a:lnTo>
                <a:lnTo>
                  <a:pt x="3776" y="897"/>
                </a:lnTo>
                <a:lnTo>
                  <a:pt x="3816" y="879"/>
                </a:lnTo>
                <a:lnTo>
                  <a:pt x="3877" y="879"/>
                </a:lnTo>
                <a:lnTo>
                  <a:pt x="3958" y="879"/>
                </a:lnTo>
                <a:lnTo>
                  <a:pt x="4019" y="860"/>
                </a:lnTo>
                <a:lnTo>
                  <a:pt x="4058" y="879"/>
                </a:lnTo>
                <a:lnTo>
                  <a:pt x="4098" y="879"/>
                </a:lnTo>
                <a:lnTo>
                  <a:pt x="4119" y="879"/>
                </a:lnTo>
                <a:lnTo>
                  <a:pt x="4138" y="879"/>
                </a:lnTo>
                <a:lnTo>
                  <a:pt x="4158" y="879"/>
                </a:lnTo>
                <a:lnTo>
                  <a:pt x="4179" y="879"/>
                </a:lnTo>
                <a:lnTo>
                  <a:pt x="4198" y="824"/>
                </a:lnTo>
                <a:lnTo>
                  <a:pt x="4238" y="789"/>
                </a:lnTo>
                <a:lnTo>
                  <a:pt x="4298" y="770"/>
                </a:lnTo>
                <a:lnTo>
                  <a:pt x="4338" y="770"/>
                </a:lnTo>
                <a:lnTo>
                  <a:pt x="4380" y="770"/>
                </a:lnTo>
                <a:lnTo>
                  <a:pt x="4359" y="789"/>
                </a:lnTo>
                <a:lnTo>
                  <a:pt x="4359" y="806"/>
                </a:lnTo>
                <a:lnTo>
                  <a:pt x="4380" y="806"/>
                </a:lnTo>
                <a:lnTo>
                  <a:pt x="4401" y="806"/>
                </a:lnTo>
                <a:lnTo>
                  <a:pt x="4461" y="753"/>
                </a:lnTo>
                <a:lnTo>
                  <a:pt x="4480" y="753"/>
                </a:lnTo>
                <a:lnTo>
                  <a:pt x="4501" y="770"/>
                </a:lnTo>
                <a:lnTo>
                  <a:pt x="4461" y="806"/>
                </a:lnTo>
                <a:lnTo>
                  <a:pt x="4421" y="824"/>
                </a:lnTo>
                <a:lnTo>
                  <a:pt x="4401" y="824"/>
                </a:lnTo>
                <a:lnTo>
                  <a:pt x="4380" y="843"/>
                </a:lnTo>
                <a:lnTo>
                  <a:pt x="4338" y="879"/>
                </a:lnTo>
                <a:lnTo>
                  <a:pt x="4338" y="914"/>
                </a:lnTo>
                <a:lnTo>
                  <a:pt x="4298" y="933"/>
                </a:lnTo>
                <a:lnTo>
                  <a:pt x="4259" y="950"/>
                </a:lnTo>
                <a:lnTo>
                  <a:pt x="4238" y="966"/>
                </a:lnTo>
                <a:lnTo>
                  <a:pt x="4219" y="1002"/>
                </a:lnTo>
                <a:lnTo>
                  <a:pt x="4238" y="1056"/>
                </a:lnTo>
                <a:lnTo>
                  <a:pt x="4259" y="1129"/>
                </a:lnTo>
                <a:lnTo>
                  <a:pt x="4259" y="1182"/>
                </a:lnTo>
                <a:lnTo>
                  <a:pt x="4298" y="1146"/>
                </a:lnTo>
                <a:lnTo>
                  <a:pt x="4319" y="1110"/>
                </a:lnTo>
                <a:lnTo>
                  <a:pt x="4359" y="1092"/>
                </a:lnTo>
                <a:lnTo>
                  <a:pt x="4359" y="1056"/>
                </a:lnTo>
                <a:lnTo>
                  <a:pt x="4401" y="1056"/>
                </a:lnTo>
                <a:lnTo>
                  <a:pt x="4401" y="1039"/>
                </a:lnTo>
                <a:lnTo>
                  <a:pt x="4401" y="1002"/>
                </a:lnTo>
                <a:lnTo>
                  <a:pt x="4421" y="985"/>
                </a:lnTo>
                <a:lnTo>
                  <a:pt x="4440" y="985"/>
                </a:lnTo>
                <a:lnTo>
                  <a:pt x="4440" y="966"/>
                </a:lnTo>
                <a:lnTo>
                  <a:pt x="4440" y="950"/>
                </a:lnTo>
                <a:lnTo>
                  <a:pt x="4440" y="933"/>
                </a:lnTo>
                <a:lnTo>
                  <a:pt x="4461" y="879"/>
                </a:lnTo>
                <a:lnTo>
                  <a:pt x="4521" y="843"/>
                </a:lnTo>
                <a:lnTo>
                  <a:pt x="4542" y="824"/>
                </a:lnTo>
                <a:lnTo>
                  <a:pt x="4580" y="824"/>
                </a:lnTo>
                <a:lnTo>
                  <a:pt x="4601" y="843"/>
                </a:lnTo>
                <a:lnTo>
                  <a:pt x="4620" y="860"/>
                </a:lnTo>
                <a:lnTo>
                  <a:pt x="4661" y="843"/>
                </a:lnTo>
                <a:lnTo>
                  <a:pt x="4720" y="824"/>
                </a:lnTo>
                <a:lnTo>
                  <a:pt x="4760" y="806"/>
                </a:lnTo>
                <a:lnTo>
                  <a:pt x="4782" y="770"/>
                </a:lnTo>
                <a:lnTo>
                  <a:pt x="4841" y="753"/>
                </a:lnTo>
                <a:lnTo>
                  <a:pt x="4862" y="753"/>
                </a:lnTo>
                <a:lnTo>
                  <a:pt x="4924" y="735"/>
                </a:lnTo>
                <a:lnTo>
                  <a:pt x="4962" y="735"/>
                </a:lnTo>
                <a:lnTo>
                  <a:pt x="4943" y="716"/>
                </a:lnTo>
                <a:lnTo>
                  <a:pt x="4924" y="699"/>
                </a:lnTo>
                <a:lnTo>
                  <a:pt x="4924" y="680"/>
                </a:lnTo>
                <a:lnTo>
                  <a:pt x="4903" y="680"/>
                </a:lnTo>
                <a:lnTo>
                  <a:pt x="4924" y="645"/>
                </a:lnTo>
                <a:lnTo>
                  <a:pt x="4962" y="645"/>
                </a:lnTo>
                <a:lnTo>
                  <a:pt x="4983" y="626"/>
                </a:lnTo>
                <a:lnTo>
                  <a:pt x="4983" y="609"/>
                </a:lnTo>
                <a:lnTo>
                  <a:pt x="4983" y="593"/>
                </a:lnTo>
                <a:lnTo>
                  <a:pt x="5002" y="593"/>
                </a:lnTo>
                <a:lnTo>
                  <a:pt x="5043" y="609"/>
                </a:lnTo>
                <a:lnTo>
                  <a:pt x="5102" y="645"/>
                </a:lnTo>
                <a:lnTo>
                  <a:pt x="5123" y="645"/>
                </a:lnTo>
                <a:lnTo>
                  <a:pt x="5183" y="662"/>
                </a:lnTo>
                <a:lnTo>
                  <a:pt x="5183" y="645"/>
                </a:lnTo>
                <a:lnTo>
                  <a:pt x="5202" y="645"/>
                </a:lnTo>
                <a:lnTo>
                  <a:pt x="5202" y="626"/>
                </a:lnTo>
                <a:lnTo>
                  <a:pt x="5242" y="609"/>
                </a:lnTo>
                <a:lnTo>
                  <a:pt x="5283" y="593"/>
                </a:lnTo>
                <a:lnTo>
                  <a:pt x="5242" y="574"/>
                </a:lnTo>
                <a:lnTo>
                  <a:pt x="5183" y="557"/>
                </a:lnTo>
                <a:lnTo>
                  <a:pt x="5142" y="538"/>
                </a:lnTo>
                <a:lnTo>
                  <a:pt x="5102" y="520"/>
                </a:lnTo>
                <a:lnTo>
                  <a:pt x="5043" y="503"/>
                </a:lnTo>
                <a:lnTo>
                  <a:pt x="5002" y="467"/>
                </a:lnTo>
                <a:lnTo>
                  <a:pt x="4962" y="467"/>
                </a:lnTo>
                <a:lnTo>
                  <a:pt x="4903" y="430"/>
                </a:lnTo>
                <a:lnTo>
                  <a:pt x="4841" y="413"/>
                </a:lnTo>
                <a:lnTo>
                  <a:pt x="4782" y="413"/>
                </a:lnTo>
                <a:lnTo>
                  <a:pt x="4720" y="413"/>
                </a:lnTo>
                <a:lnTo>
                  <a:pt x="4680" y="413"/>
                </a:lnTo>
                <a:lnTo>
                  <a:pt x="4661" y="413"/>
                </a:lnTo>
                <a:lnTo>
                  <a:pt x="4661" y="467"/>
                </a:lnTo>
                <a:lnTo>
                  <a:pt x="4641" y="449"/>
                </a:lnTo>
                <a:lnTo>
                  <a:pt x="4620" y="430"/>
                </a:lnTo>
                <a:lnTo>
                  <a:pt x="4601" y="413"/>
                </a:lnTo>
                <a:lnTo>
                  <a:pt x="4580" y="413"/>
                </a:lnTo>
                <a:lnTo>
                  <a:pt x="4480" y="413"/>
                </a:lnTo>
                <a:lnTo>
                  <a:pt x="4401" y="413"/>
                </a:lnTo>
                <a:lnTo>
                  <a:pt x="4359" y="413"/>
                </a:lnTo>
                <a:lnTo>
                  <a:pt x="4338" y="376"/>
                </a:lnTo>
                <a:lnTo>
                  <a:pt x="4298" y="359"/>
                </a:lnTo>
                <a:lnTo>
                  <a:pt x="4238" y="359"/>
                </a:lnTo>
                <a:lnTo>
                  <a:pt x="4198" y="359"/>
                </a:lnTo>
                <a:lnTo>
                  <a:pt x="4138" y="359"/>
                </a:lnTo>
                <a:lnTo>
                  <a:pt x="4119" y="359"/>
                </a:lnTo>
                <a:lnTo>
                  <a:pt x="4098" y="323"/>
                </a:lnTo>
                <a:lnTo>
                  <a:pt x="4079" y="305"/>
                </a:lnTo>
                <a:lnTo>
                  <a:pt x="4058" y="305"/>
                </a:lnTo>
                <a:lnTo>
                  <a:pt x="3998" y="286"/>
                </a:lnTo>
                <a:lnTo>
                  <a:pt x="3939" y="269"/>
                </a:lnTo>
                <a:lnTo>
                  <a:pt x="3899" y="269"/>
                </a:lnTo>
                <a:lnTo>
                  <a:pt x="3837" y="269"/>
                </a:lnTo>
                <a:lnTo>
                  <a:pt x="3776" y="286"/>
                </a:lnTo>
                <a:lnTo>
                  <a:pt x="3737" y="305"/>
                </a:lnTo>
                <a:lnTo>
                  <a:pt x="3737" y="340"/>
                </a:lnTo>
                <a:lnTo>
                  <a:pt x="3657" y="340"/>
                </a:lnTo>
                <a:lnTo>
                  <a:pt x="3597" y="340"/>
                </a:lnTo>
                <a:lnTo>
                  <a:pt x="3557" y="340"/>
                </a:lnTo>
                <a:lnTo>
                  <a:pt x="3536" y="340"/>
                </a:lnTo>
                <a:lnTo>
                  <a:pt x="3517" y="323"/>
                </a:lnTo>
                <a:lnTo>
                  <a:pt x="3476" y="323"/>
                </a:lnTo>
                <a:lnTo>
                  <a:pt x="3476" y="340"/>
                </a:lnTo>
                <a:lnTo>
                  <a:pt x="3457" y="359"/>
                </a:lnTo>
                <a:lnTo>
                  <a:pt x="3417" y="359"/>
                </a:lnTo>
                <a:lnTo>
                  <a:pt x="3394" y="323"/>
                </a:lnTo>
                <a:lnTo>
                  <a:pt x="3394" y="286"/>
                </a:lnTo>
                <a:lnTo>
                  <a:pt x="3394" y="269"/>
                </a:lnTo>
                <a:lnTo>
                  <a:pt x="3394" y="250"/>
                </a:lnTo>
                <a:lnTo>
                  <a:pt x="3394" y="234"/>
                </a:lnTo>
                <a:lnTo>
                  <a:pt x="3334" y="234"/>
                </a:lnTo>
                <a:lnTo>
                  <a:pt x="3254" y="217"/>
                </a:lnTo>
                <a:lnTo>
                  <a:pt x="3234" y="217"/>
                </a:lnTo>
                <a:lnTo>
                  <a:pt x="3215" y="234"/>
                </a:lnTo>
                <a:lnTo>
                  <a:pt x="3194" y="250"/>
                </a:lnTo>
                <a:lnTo>
                  <a:pt x="3175" y="250"/>
                </a:lnTo>
                <a:lnTo>
                  <a:pt x="3115" y="250"/>
                </a:lnTo>
                <a:lnTo>
                  <a:pt x="3075" y="250"/>
                </a:lnTo>
                <a:lnTo>
                  <a:pt x="3054" y="234"/>
                </a:lnTo>
                <a:lnTo>
                  <a:pt x="2994" y="234"/>
                </a:lnTo>
                <a:lnTo>
                  <a:pt x="2935" y="234"/>
                </a:lnTo>
                <a:lnTo>
                  <a:pt x="2852" y="198"/>
                </a:lnTo>
                <a:lnTo>
                  <a:pt x="2833" y="181"/>
                </a:lnTo>
                <a:lnTo>
                  <a:pt x="2753" y="234"/>
                </a:lnTo>
                <a:lnTo>
                  <a:pt x="2731" y="234"/>
                </a:lnTo>
                <a:lnTo>
                  <a:pt x="2731" y="217"/>
                </a:lnTo>
                <a:lnTo>
                  <a:pt x="2753" y="217"/>
                </a:lnTo>
                <a:lnTo>
                  <a:pt x="2793" y="198"/>
                </a:lnTo>
                <a:lnTo>
                  <a:pt x="2793" y="181"/>
                </a:lnTo>
                <a:lnTo>
                  <a:pt x="2833" y="181"/>
                </a:lnTo>
                <a:lnTo>
                  <a:pt x="2852" y="163"/>
                </a:lnTo>
                <a:lnTo>
                  <a:pt x="2893" y="144"/>
                </a:lnTo>
                <a:lnTo>
                  <a:pt x="2912" y="127"/>
                </a:lnTo>
                <a:lnTo>
                  <a:pt x="2935" y="127"/>
                </a:lnTo>
                <a:lnTo>
                  <a:pt x="2935" y="110"/>
                </a:lnTo>
                <a:lnTo>
                  <a:pt x="2935" y="90"/>
                </a:lnTo>
                <a:lnTo>
                  <a:pt x="2893" y="73"/>
                </a:lnTo>
                <a:lnTo>
                  <a:pt x="2852" y="54"/>
                </a:lnTo>
                <a:lnTo>
                  <a:pt x="2812" y="54"/>
                </a:lnTo>
                <a:lnTo>
                  <a:pt x="2793" y="54"/>
                </a:lnTo>
                <a:lnTo>
                  <a:pt x="2731" y="54"/>
                </a:lnTo>
                <a:lnTo>
                  <a:pt x="2712" y="54"/>
                </a:lnTo>
                <a:lnTo>
                  <a:pt x="2693" y="19"/>
                </a:lnTo>
                <a:lnTo>
                  <a:pt x="2672" y="0"/>
                </a:lnTo>
                <a:lnTo>
                  <a:pt x="2612" y="0"/>
                </a:lnTo>
                <a:lnTo>
                  <a:pt x="2572" y="0"/>
                </a:lnTo>
                <a:lnTo>
                  <a:pt x="2532" y="37"/>
                </a:lnTo>
                <a:lnTo>
                  <a:pt x="2513" y="54"/>
                </a:lnTo>
                <a:lnTo>
                  <a:pt x="2472" y="73"/>
                </a:lnTo>
                <a:lnTo>
                  <a:pt x="2430" y="90"/>
                </a:lnTo>
                <a:lnTo>
                  <a:pt x="2370" y="90"/>
                </a:lnTo>
                <a:lnTo>
                  <a:pt x="2349" y="73"/>
                </a:lnTo>
                <a:lnTo>
                  <a:pt x="2330" y="73"/>
                </a:lnTo>
                <a:lnTo>
                  <a:pt x="2290" y="90"/>
                </a:lnTo>
                <a:lnTo>
                  <a:pt x="2230" y="110"/>
                </a:lnTo>
                <a:lnTo>
                  <a:pt x="2171" y="127"/>
                </a:lnTo>
                <a:lnTo>
                  <a:pt x="2109" y="163"/>
                </a:lnTo>
                <a:lnTo>
                  <a:pt x="2090" y="181"/>
                </a:lnTo>
                <a:lnTo>
                  <a:pt x="2090" y="198"/>
                </a:lnTo>
                <a:lnTo>
                  <a:pt x="2071" y="217"/>
                </a:lnTo>
                <a:lnTo>
                  <a:pt x="2010" y="217"/>
                </a:lnTo>
                <a:lnTo>
                  <a:pt x="1969" y="217"/>
                </a:lnTo>
                <a:lnTo>
                  <a:pt x="1908" y="234"/>
                </a:lnTo>
                <a:lnTo>
                  <a:pt x="1889" y="250"/>
                </a:lnTo>
                <a:lnTo>
                  <a:pt x="1889" y="269"/>
                </a:lnTo>
                <a:lnTo>
                  <a:pt x="1889" y="286"/>
                </a:lnTo>
                <a:lnTo>
                  <a:pt x="1908" y="305"/>
                </a:lnTo>
                <a:lnTo>
                  <a:pt x="1889" y="305"/>
                </a:lnTo>
                <a:lnTo>
                  <a:pt x="1848" y="305"/>
                </a:lnTo>
                <a:lnTo>
                  <a:pt x="1808" y="305"/>
                </a:lnTo>
                <a:lnTo>
                  <a:pt x="1749" y="323"/>
                </a:lnTo>
                <a:lnTo>
                  <a:pt x="1749" y="305"/>
                </a:lnTo>
                <a:lnTo>
                  <a:pt x="1749" y="286"/>
                </a:lnTo>
                <a:lnTo>
                  <a:pt x="1727" y="269"/>
                </a:lnTo>
                <a:lnTo>
                  <a:pt x="1708" y="305"/>
                </a:lnTo>
                <a:lnTo>
                  <a:pt x="1689" y="305"/>
                </a:lnTo>
                <a:lnTo>
                  <a:pt x="1668" y="323"/>
                </a:lnTo>
                <a:lnTo>
                  <a:pt x="1689" y="359"/>
                </a:lnTo>
                <a:lnTo>
                  <a:pt x="1689" y="376"/>
                </a:lnTo>
                <a:lnTo>
                  <a:pt x="1689" y="413"/>
                </a:lnTo>
                <a:lnTo>
                  <a:pt x="1689" y="449"/>
                </a:lnTo>
                <a:lnTo>
                  <a:pt x="1708" y="484"/>
                </a:lnTo>
                <a:lnTo>
                  <a:pt x="1689" y="503"/>
                </a:lnTo>
                <a:lnTo>
                  <a:pt x="1668" y="484"/>
                </a:lnTo>
                <a:lnTo>
                  <a:pt x="1649" y="430"/>
                </a:lnTo>
                <a:lnTo>
                  <a:pt x="1649" y="359"/>
                </a:lnTo>
                <a:lnTo>
                  <a:pt x="1649" y="323"/>
                </a:lnTo>
                <a:lnTo>
                  <a:pt x="1649" y="305"/>
                </a:lnTo>
                <a:lnTo>
                  <a:pt x="1668" y="286"/>
                </a:lnTo>
                <a:lnTo>
                  <a:pt x="1608" y="269"/>
                </a:lnTo>
                <a:lnTo>
                  <a:pt x="1549" y="286"/>
                </a:lnTo>
                <a:lnTo>
                  <a:pt x="1487" y="323"/>
                </a:lnTo>
                <a:lnTo>
                  <a:pt x="1487" y="359"/>
                </a:lnTo>
                <a:lnTo>
                  <a:pt x="1487" y="413"/>
                </a:lnTo>
                <a:lnTo>
                  <a:pt x="1487" y="430"/>
                </a:lnTo>
                <a:lnTo>
                  <a:pt x="1528" y="467"/>
                </a:lnTo>
                <a:lnTo>
                  <a:pt x="1549" y="484"/>
                </a:lnTo>
                <a:lnTo>
                  <a:pt x="1528" y="484"/>
                </a:lnTo>
                <a:lnTo>
                  <a:pt x="1487" y="484"/>
                </a:lnTo>
                <a:lnTo>
                  <a:pt x="1466" y="467"/>
                </a:lnTo>
                <a:lnTo>
                  <a:pt x="1407" y="449"/>
                </a:lnTo>
                <a:lnTo>
                  <a:pt x="1386" y="430"/>
                </a:lnTo>
                <a:lnTo>
                  <a:pt x="1305" y="413"/>
                </a:lnTo>
                <a:lnTo>
                  <a:pt x="1286" y="430"/>
                </a:lnTo>
                <a:lnTo>
                  <a:pt x="1286" y="449"/>
                </a:lnTo>
                <a:lnTo>
                  <a:pt x="1286" y="467"/>
                </a:lnTo>
                <a:lnTo>
                  <a:pt x="1267" y="484"/>
                </a:lnTo>
                <a:lnTo>
                  <a:pt x="1246" y="484"/>
                </a:lnTo>
                <a:lnTo>
                  <a:pt x="1205" y="467"/>
                </a:lnTo>
                <a:lnTo>
                  <a:pt x="1167" y="467"/>
                </a:lnTo>
                <a:lnTo>
                  <a:pt x="1127" y="484"/>
                </a:lnTo>
                <a:lnTo>
                  <a:pt x="1065" y="484"/>
                </a:lnTo>
                <a:lnTo>
                  <a:pt x="1046" y="467"/>
                </a:lnTo>
                <a:lnTo>
                  <a:pt x="1006" y="484"/>
                </a:lnTo>
                <a:lnTo>
                  <a:pt x="944" y="503"/>
                </a:lnTo>
                <a:lnTo>
                  <a:pt x="904" y="538"/>
                </a:lnTo>
                <a:lnTo>
                  <a:pt x="864" y="557"/>
                </a:lnTo>
                <a:lnTo>
                  <a:pt x="823" y="557"/>
                </a:lnTo>
                <a:lnTo>
                  <a:pt x="804" y="557"/>
                </a:lnTo>
                <a:lnTo>
                  <a:pt x="804" y="538"/>
                </a:lnTo>
                <a:lnTo>
                  <a:pt x="804" y="520"/>
                </a:lnTo>
                <a:lnTo>
                  <a:pt x="804" y="484"/>
                </a:lnTo>
                <a:lnTo>
                  <a:pt x="804" y="467"/>
                </a:lnTo>
                <a:lnTo>
                  <a:pt x="785" y="484"/>
                </a:lnTo>
                <a:lnTo>
                  <a:pt x="745" y="538"/>
                </a:lnTo>
                <a:lnTo>
                  <a:pt x="745" y="557"/>
                </a:lnTo>
                <a:lnTo>
                  <a:pt x="764" y="557"/>
                </a:lnTo>
                <a:lnTo>
                  <a:pt x="764" y="574"/>
                </a:lnTo>
                <a:lnTo>
                  <a:pt x="745" y="593"/>
                </a:lnTo>
                <a:lnTo>
                  <a:pt x="723" y="593"/>
                </a:lnTo>
                <a:lnTo>
                  <a:pt x="683" y="593"/>
                </a:lnTo>
                <a:lnTo>
                  <a:pt x="683" y="609"/>
                </a:lnTo>
                <a:lnTo>
                  <a:pt x="664" y="626"/>
                </a:lnTo>
                <a:lnTo>
                  <a:pt x="645" y="645"/>
                </a:lnTo>
                <a:lnTo>
                  <a:pt x="604" y="645"/>
                </a:lnTo>
                <a:lnTo>
                  <a:pt x="543" y="645"/>
                </a:lnTo>
                <a:lnTo>
                  <a:pt x="543" y="662"/>
                </a:lnTo>
                <a:lnTo>
                  <a:pt x="543" y="680"/>
                </a:lnTo>
                <a:lnTo>
                  <a:pt x="503" y="645"/>
                </a:lnTo>
                <a:lnTo>
                  <a:pt x="482" y="626"/>
                </a:lnTo>
                <a:lnTo>
                  <a:pt x="462" y="593"/>
                </a:lnTo>
                <a:lnTo>
                  <a:pt x="503" y="593"/>
                </a:lnTo>
                <a:lnTo>
                  <a:pt x="543" y="593"/>
                </a:lnTo>
                <a:lnTo>
                  <a:pt x="583" y="593"/>
                </a:lnTo>
                <a:lnTo>
                  <a:pt x="604" y="609"/>
                </a:lnTo>
                <a:lnTo>
                  <a:pt x="624" y="593"/>
                </a:lnTo>
                <a:lnTo>
                  <a:pt x="664" y="593"/>
                </a:lnTo>
                <a:lnTo>
                  <a:pt x="683" y="574"/>
                </a:lnTo>
                <a:lnTo>
                  <a:pt x="683" y="557"/>
                </a:lnTo>
                <a:lnTo>
                  <a:pt x="664" y="538"/>
                </a:lnTo>
                <a:lnTo>
                  <a:pt x="624" y="520"/>
                </a:lnTo>
                <a:lnTo>
                  <a:pt x="583" y="503"/>
                </a:lnTo>
                <a:lnTo>
                  <a:pt x="543" y="467"/>
                </a:lnTo>
                <a:lnTo>
                  <a:pt x="482" y="467"/>
                </a:lnTo>
                <a:lnTo>
                  <a:pt x="401" y="430"/>
                </a:lnTo>
                <a:lnTo>
                  <a:pt x="363" y="430"/>
                </a:lnTo>
                <a:lnTo>
                  <a:pt x="341" y="430"/>
                </a:lnTo>
                <a:lnTo>
                  <a:pt x="322" y="449"/>
                </a:lnTo>
                <a:lnTo>
                  <a:pt x="301" y="467"/>
                </a:lnTo>
                <a:lnTo>
                  <a:pt x="282" y="467"/>
                </a:lnTo>
                <a:lnTo>
                  <a:pt x="301" y="484"/>
                </a:lnTo>
                <a:lnTo>
                  <a:pt x="322" y="503"/>
                </a:lnTo>
                <a:lnTo>
                  <a:pt x="322" y="520"/>
                </a:lnTo>
                <a:lnTo>
                  <a:pt x="322" y="538"/>
                </a:lnTo>
                <a:lnTo>
                  <a:pt x="301" y="538"/>
                </a:lnTo>
                <a:lnTo>
                  <a:pt x="301" y="557"/>
                </a:lnTo>
                <a:lnTo>
                  <a:pt x="301" y="574"/>
                </a:lnTo>
                <a:lnTo>
                  <a:pt x="322" y="593"/>
                </a:lnTo>
                <a:lnTo>
                  <a:pt x="341" y="609"/>
                </a:lnTo>
                <a:lnTo>
                  <a:pt x="322" y="609"/>
                </a:lnTo>
                <a:lnTo>
                  <a:pt x="322" y="626"/>
                </a:lnTo>
                <a:lnTo>
                  <a:pt x="322" y="645"/>
                </a:lnTo>
                <a:lnTo>
                  <a:pt x="341" y="645"/>
                </a:lnTo>
                <a:lnTo>
                  <a:pt x="341" y="662"/>
                </a:lnTo>
                <a:lnTo>
                  <a:pt x="341" y="680"/>
                </a:lnTo>
                <a:lnTo>
                  <a:pt x="341" y="699"/>
                </a:lnTo>
                <a:lnTo>
                  <a:pt x="363" y="699"/>
                </a:lnTo>
                <a:lnTo>
                  <a:pt x="363" y="716"/>
                </a:lnTo>
                <a:lnTo>
                  <a:pt x="341" y="753"/>
                </a:lnTo>
                <a:lnTo>
                  <a:pt x="301" y="789"/>
                </a:lnTo>
                <a:lnTo>
                  <a:pt x="282" y="806"/>
                </a:lnTo>
                <a:lnTo>
                  <a:pt x="282" y="824"/>
                </a:lnTo>
                <a:lnTo>
                  <a:pt x="282" y="843"/>
                </a:lnTo>
                <a:lnTo>
                  <a:pt x="301" y="860"/>
                </a:lnTo>
                <a:lnTo>
                  <a:pt x="282" y="860"/>
                </a:lnTo>
                <a:lnTo>
                  <a:pt x="263" y="879"/>
                </a:lnTo>
                <a:lnTo>
                  <a:pt x="242" y="879"/>
                </a:lnTo>
                <a:lnTo>
                  <a:pt x="222" y="879"/>
                </a:lnTo>
                <a:lnTo>
                  <a:pt x="201" y="879"/>
                </a:lnTo>
                <a:lnTo>
                  <a:pt x="182" y="879"/>
                </a:lnTo>
                <a:lnTo>
                  <a:pt x="142" y="879"/>
                </a:lnTo>
                <a:lnTo>
                  <a:pt x="123" y="879"/>
                </a:lnTo>
                <a:lnTo>
                  <a:pt x="123" y="897"/>
                </a:lnTo>
                <a:lnTo>
                  <a:pt x="142" y="933"/>
                </a:lnTo>
                <a:lnTo>
                  <a:pt x="142" y="950"/>
                </a:lnTo>
                <a:lnTo>
                  <a:pt x="142" y="966"/>
                </a:lnTo>
                <a:lnTo>
                  <a:pt x="123" y="950"/>
                </a:lnTo>
                <a:lnTo>
                  <a:pt x="101" y="933"/>
                </a:lnTo>
                <a:lnTo>
                  <a:pt x="82" y="933"/>
                </a:lnTo>
                <a:lnTo>
                  <a:pt x="82" y="950"/>
                </a:lnTo>
                <a:lnTo>
                  <a:pt x="61" y="985"/>
                </a:lnTo>
                <a:lnTo>
                  <a:pt x="42" y="1002"/>
                </a:lnTo>
                <a:lnTo>
                  <a:pt x="42" y="1039"/>
                </a:lnTo>
                <a:lnTo>
                  <a:pt x="19" y="1056"/>
                </a:lnTo>
                <a:lnTo>
                  <a:pt x="0" y="1075"/>
                </a:lnTo>
                <a:lnTo>
                  <a:pt x="19" y="1075"/>
                </a:lnTo>
                <a:lnTo>
                  <a:pt x="42" y="1075"/>
                </a:lnTo>
                <a:lnTo>
                  <a:pt x="61" y="1075"/>
                </a:lnTo>
                <a:lnTo>
                  <a:pt x="82" y="1075"/>
                </a:lnTo>
                <a:lnTo>
                  <a:pt x="101" y="1075"/>
                </a:lnTo>
                <a:lnTo>
                  <a:pt x="123" y="1075"/>
                </a:lnTo>
                <a:lnTo>
                  <a:pt x="142" y="1110"/>
                </a:lnTo>
                <a:lnTo>
                  <a:pt x="142" y="1129"/>
                </a:lnTo>
                <a:lnTo>
                  <a:pt x="142" y="1146"/>
                </a:lnTo>
                <a:lnTo>
                  <a:pt x="123" y="1165"/>
                </a:lnTo>
                <a:lnTo>
                  <a:pt x="142" y="1165"/>
                </a:lnTo>
                <a:lnTo>
                  <a:pt x="142" y="1200"/>
                </a:lnTo>
                <a:lnTo>
                  <a:pt x="142" y="1219"/>
                </a:lnTo>
                <a:lnTo>
                  <a:pt x="142" y="1236"/>
                </a:lnTo>
                <a:lnTo>
                  <a:pt x="123" y="1236"/>
                </a:lnTo>
                <a:lnTo>
                  <a:pt x="101" y="1253"/>
                </a:lnTo>
                <a:lnTo>
                  <a:pt x="101" y="1273"/>
                </a:lnTo>
                <a:lnTo>
                  <a:pt x="101" y="1290"/>
                </a:lnTo>
                <a:lnTo>
                  <a:pt x="101" y="1309"/>
                </a:lnTo>
                <a:lnTo>
                  <a:pt x="142" y="1309"/>
                </a:lnTo>
                <a:lnTo>
                  <a:pt x="182" y="1309"/>
                </a:lnTo>
                <a:lnTo>
                  <a:pt x="201" y="1290"/>
                </a:lnTo>
                <a:lnTo>
                  <a:pt x="222" y="1290"/>
                </a:lnTo>
                <a:lnTo>
                  <a:pt x="242" y="1309"/>
                </a:lnTo>
                <a:lnTo>
                  <a:pt x="263" y="1342"/>
                </a:lnTo>
                <a:lnTo>
                  <a:pt x="282" y="1342"/>
                </a:lnTo>
                <a:lnTo>
                  <a:pt x="282" y="1361"/>
                </a:lnTo>
                <a:lnTo>
                  <a:pt x="282" y="1378"/>
                </a:lnTo>
                <a:lnTo>
                  <a:pt x="282" y="1396"/>
                </a:lnTo>
                <a:lnTo>
                  <a:pt x="301" y="1396"/>
                </a:lnTo>
                <a:lnTo>
                  <a:pt x="322" y="1396"/>
                </a:lnTo>
                <a:lnTo>
                  <a:pt x="341" y="1378"/>
                </a:lnTo>
                <a:lnTo>
                  <a:pt x="341" y="1361"/>
                </a:lnTo>
                <a:lnTo>
                  <a:pt x="363" y="1361"/>
                </a:lnTo>
                <a:lnTo>
                  <a:pt x="401" y="1378"/>
                </a:lnTo>
                <a:lnTo>
                  <a:pt x="422" y="1415"/>
                </a:lnTo>
                <a:lnTo>
                  <a:pt x="462" y="1432"/>
                </a:lnTo>
                <a:lnTo>
                  <a:pt x="482" y="1432"/>
                </a:lnTo>
                <a:lnTo>
                  <a:pt x="503" y="1415"/>
                </a:lnTo>
                <a:lnTo>
                  <a:pt x="524" y="1396"/>
                </a:lnTo>
                <a:lnTo>
                  <a:pt x="503" y="1396"/>
                </a:lnTo>
                <a:lnTo>
                  <a:pt x="482" y="1396"/>
                </a:lnTo>
                <a:lnTo>
                  <a:pt x="503" y="1378"/>
                </a:lnTo>
                <a:lnTo>
                  <a:pt x="543" y="1361"/>
                </a:lnTo>
                <a:lnTo>
                  <a:pt x="583" y="1342"/>
                </a:lnTo>
                <a:lnTo>
                  <a:pt x="564" y="1361"/>
                </a:lnTo>
                <a:lnTo>
                  <a:pt x="583" y="1378"/>
                </a:lnTo>
                <a:lnTo>
                  <a:pt x="564" y="1396"/>
                </a:lnTo>
                <a:lnTo>
                  <a:pt x="543" y="1396"/>
                </a:lnTo>
                <a:lnTo>
                  <a:pt x="564" y="1432"/>
                </a:lnTo>
                <a:lnTo>
                  <a:pt x="604" y="1449"/>
                </a:lnTo>
                <a:lnTo>
                  <a:pt x="645" y="1468"/>
                </a:lnTo>
                <a:lnTo>
                  <a:pt x="683" y="1486"/>
                </a:lnTo>
                <a:lnTo>
                  <a:pt x="683" y="1522"/>
                </a:lnTo>
                <a:lnTo>
                  <a:pt x="704" y="1522"/>
                </a:lnTo>
                <a:lnTo>
                  <a:pt x="723" y="1522"/>
                </a:lnTo>
                <a:lnTo>
                  <a:pt x="745" y="1522"/>
                </a:lnTo>
                <a:lnTo>
                  <a:pt x="745" y="1539"/>
                </a:lnTo>
                <a:lnTo>
                  <a:pt x="764" y="1576"/>
                </a:lnTo>
                <a:lnTo>
                  <a:pt x="785" y="1576"/>
                </a:lnTo>
                <a:lnTo>
                  <a:pt x="804" y="1593"/>
                </a:lnTo>
                <a:lnTo>
                  <a:pt x="804" y="1612"/>
                </a:lnTo>
                <a:lnTo>
                  <a:pt x="844" y="1612"/>
                </a:lnTo>
                <a:lnTo>
                  <a:pt x="864" y="1612"/>
                </a:lnTo>
                <a:lnTo>
                  <a:pt x="885" y="1593"/>
                </a:lnTo>
                <a:lnTo>
                  <a:pt x="885" y="1576"/>
                </a:lnTo>
                <a:lnTo>
                  <a:pt x="885" y="1593"/>
                </a:lnTo>
                <a:lnTo>
                  <a:pt x="904" y="1593"/>
                </a:lnTo>
                <a:lnTo>
                  <a:pt x="904" y="1612"/>
                </a:lnTo>
                <a:lnTo>
                  <a:pt x="923" y="1612"/>
                </a:lnTo>
                <a:lnTo>
                  <a:pt x="923" y="1593"/>
                </a:lnTo>
                <a:lnTo>
                  <a:pt x="944" y="1576"/>
                </a:lnTo>
                <a:lnTo>
                  <a:pt x="923" y="1539"/>
                </a:lnTo>
                <a:lnTo>
                  <a:pt x="885" y="1505"/>
                </a:lnTo>
                <a:lnTo>
                  <a:pt x="885" y="1468"/>
                </a:lnTo>
                <a:lnTo>
                  <a:pt x="885" y="1449"/>
                </a:lnTo>
                <a:lnTo>
                  <a:pt x="864" y="1432"/>
                </a:lnTo>
                <a:lnTo>
                  <a:pt x="844" y="1415"/>
                </a:lnTo>
                <a:lnTo>
                  <a:pt x="864" y="1396"/>
                </a:lnTo>
                <a:lnTo>
                  <a:pt x="885" y="1378"/>
                </a:lnTo>
                <a:lnTo>
                  <a:pt x="904" y="1361"/>
                </a:lnTo>
                <a:lnTo>
                  <a:pt x="923" y="1361"/>
                </a:lnTo>
                <a:lnTo>
                  <a:pt x="944" y="1342"/>
                </a:lnTo>
                <a:lnTo>
                  <a:pt x="963" y="1342"/>
                </a:lnTo>
                <a:lnTo>
                  <a:pt x="1006" y="1342"/>
                </a:lnTo>
                <a:lnTo>
                  <a:pt x="1046" y="1342"/>
                </a:lnTo>
                <a:lnTo>
                  <a:pt x="1086" y="1378"/>
                </a:lnTo>
                <a:lnTo>
                  <a:pt x="1086" y="1396"/>
                </a:lnTo>
                <a:lnTo>
                  <a:pt x="1065" y="1396"/>
                </a:lnTo>
                <a:lnTo>
                  <a:pt x="1027" y="1396"/>
                </a:lnTo>
                <a:lnTo>
                  <a:pt x="1006" y="1396"/>
                </a:lnTo>
                <a:lnTo>
                  <a:pt x="963" y="1415"/>
                </a:lnTo>
                <a:lnTo>
                  <a:pt x="944" y="1432"/>
                </a:lnTo>
                <a:lnTo>
                  <a:pt x="963" y="1449"/>
                </a:lnTo>
                <a:lnTo>
                  <a:pt x="985" y="1468"/>
                </a:lnTo>
                <a:lnTo>
                  <a:pt x="1006" y="1486"/>
                </a:lnTo>
                <a:lnTo>
                  <a:pt x="1027" y="1505"/>
                </a:lnTo>
                <a:lnTo>
                  <a:pt x="1027" y="1539"/>
                </a:lnTo>
                <a:lnTo>
                  <a:pt x="1046" y="1522"/>
                </a:lnTo>
                <a:lnTo>
                  <a:pt x="1065" y="1522"/>
                </a:lnTo>
                <a:lnTo>
                  <a:pt x="1086" y="1522"/>
                </a:lnTo>
                <a:lnTo>
                  <a:pt x="1086" y="1539"/>
                </a:lnTo>
                <a:lnTo>
                  <a:pt x="1086" y="1559"/>
                </a:lnTo>
                <a:lnTo>
                  <a:pt x="1065" y="1559"/>
                </a:lnTo>
                <a:lnTo>
                  <a:pt x="1046" y="1576"/>
                </a:lnTo>
                <a:lnTo>
                  <a:pt x="1027" y="1576"/>
                </a:lnTo>
                <a:lnTo>
                  <a:pt x="1065" y="1593"/>
                </a:lnTo>
                <a:lnTo>
                  <a:pt x="1065" y="1612"/>
                </a:lnTo>
                <a:lnTo>
                  <a:pt x="1086" y="1630"/>
                </a:lnTo>
                <a:lnTo>
                  <a:pt x="1086" y="1649"/>
                </a:lnTo>
                <a:lnTo>
                  <a:pt x="1065" y="1649"/>
                </a:lnTo>
                <a:lnTo>
                  <a:pt x="1086" y="1664"/>
                </a:lnTo>
                <a:lnTo>
                  <a:pt x="1086" y="1649"/>
                </a:lnTo>
                <a:lnTo>
                  <a:pt x="1105" y="1649"/>
                </a:lnTo>
                <a:lnTo>
                  <a:pt x="1127" y="1649"/>
                </a:lnTo>
                <a:lnTo>
                  <a:pt x="1146" y="1649"/>
                </a:lnTo>
                <a:lnTo>
                  <a:pt x="1167" y="1630"/>
                </a:lnTo>
                <a:lnTo>
                  <a:pt x="1186" y="1649"/>
                </a:lnTo>
                <a:lnTo>
                  <a:pt x="1205" y="1649"/>
                </a:lnTo>
                <a:lnTo>
                  <a:pt x="1226" y="1649"/>
                </a:lnTo>
                <a:lnTo>
                  <a:pt x="1246" y="1664"/>
                </a:lnTo>
                <a:lnTo>
                  <a:pt x="1286" y="1681"/>
                </a:lnTo>
                <a:lnTo>
                  <a:pt x="1305" y="1701"/>
                </a:lnTo>
                <a:lnTo>
                  <a:pt x="1305" y="1718"/>
                </a:lnTo>
                <a:lnTo>
                  <a:pt x="1326" y="1718"/>
                </a:lnTo>
                <a:lnTo>
                  <a:pt x="1345" y="1735"/>
                </a:lnTo>
                <a:lnTo>
                  <a:pt x="1345" y="1718"/>
                </a:lnTo>
                <a:lnTo>
                  <a:pt x="1367" y="1718"/>
                </a:lnTo>
                <a:lnTo>
                  <a:pt x="1386" y="1701"/>
                </a:lnTo>
                <a:lnTo>
                  <a:pt x="1407" y="1701"/>
                </a:lnTo>
                <a:lnTo>
                  <a:pt x="1407" y="1681"/>
                </a:lnTo>
                <a:lnTo>
                  <a:pt x="1426" y="1664"/>
                </a:lnTo>
                <a:lnTo>
                  <a:pt x="1445" y="1664"/>
                </a:lnTo>
                <a:lnTo>
                  <a:pt x="1466" y="1664"/>
                </a:lnTo>
                <a:lnTo>
                  <a:pt x="1487" y="1664"/>
                </a:lnTo>
                <a:lnTo>
                  <a:pt x="1509" y="1664"/>
                </a:lnTo>
                <a:lnTo>
                  <a:pt x="1509" y="1681"/>
                </a:lnTo>
                <a:lnTo>
                  <a:pt x="1528" y="1681"/>
                </a:lnTo>
                <a:lnTo>
                  <a:pt x="1549" y="1681"/>
                </a:lnTo>
                <a:lnTo>
                  <a:pt x="1549" y="1664"/>
                </a:lnTo>
                <a:lnTo>
                  <a:pt x="1568" y="1649"/>
                </a:lnTo>
                <a:lnTo>
                  <a:pt x="1587" y="1649"/>
                </a:lnTo>
                <a:lnTo>
                  <a:pt x="1608" y="1630"/>
                </a:lnTo>
                <a:lnTo>
                  <a:pt x="1608" y="1649"/>
                </a:lnTo>
                <a:lnTo>
                  <a:pt x="1608" y="1664"/>
                </a:lnTo>
                <a:lnTo>
                  <a:pt x="1628" y="1681"/>
                </a:lnTo>
                <a:lnTo>
                  <a:pt x="1649" y="1681"/>
                </a:lnTo>
                <a:lnTo>
                  <a:pt x="1689" y="1664"/>
                </a:lnTo>
                <a:lnTo>
                  <a:pt x="1708" y="1664"/>
                </a:lnTo>
                <a:lnTo>
                  <a:pt x="1727" y="1664"/>
                </a:lnTo>
                <a:lnTo>
                  <a:pt x="1727" y="1649"/>
                </a:lnTo>
                <a:lnTo>
                  <a:pt x="1708" y="1649"/>
                </a:lnTo>
                <a:lnTo>
                  <a:pt x="1689" y="1630"/>
                </a:lnTo>
                <a:lnTo>
                  <a:pt x="1689" y="1593"/>
                </a:lnTo>
                <a:lnTo>
                  <a:pt x="1708" y="1576"/>
                </a:lnTo>
                <a:lnTo>
                  <a:pt x="1749" y="1576"/>
                </a:lnTo>
                <a:lnTo>
                  <a:pt x="1789" y="1559"/>
                </a:lnTo>
                <a:lnTo>
                  <a:pt x="1827" y="1539"/>
                </a:lnTo>
                <a:lnTo>
                  <a:pt x="1889" y="1522"/>
                </a:lnTo>
                <a:lnTo>
                  <a:pt x="1889" y="1468"/>
                </a:lnTo>
                <a:lnTo>
                  <a:pt x="1908" y="1396"/>
                </a:lnTo>
                <a:lnTo>
                  <a:pt x="1948" y="1396"/>
                </a:lnTo>
                <a:lnTo>
                  <a:pt x="1969" y="1361"/>
                </a:lnTo>
                <a:lnTo>
                  <a:pt x="2010" y="1342"/>
                </a:lnTo>
                <a:lnTo>
                  <a:pt x="2050" y="1342"/>
                </a:lnTo>
                <a:lnTo>
                  <a:pt x="2071" y="1309"/>
                </a:lnTo>
                <a:lnTo>
                  <a:pt x="2071" y="1290"/>
                </a:lnTo>
                <a:lnTo>
                  <a:pt x="2109" y="1273"/>
                </a:lnTo>
                <a:lnTo>
                  <a:pt x="2171" y="1236"/>
                </a:lnTo>
                <a:lnTo>
                  <a:pt x="2230" y="1236"/>
                </a:lnTo>
                <a:lnTo>
                  <a:pt x="2230" y="1219"/>
                </a:lnTo>
                <a:lnTo>
                  <a:pt x="2250" y="1200"/>
                </a:lnTo>
                <a:lnTo>
                  <a:pt x="2290" y="1200"/>
                </a:lnTo>
                <a:lnTo>
                  <a:pt x="2311" y="1219"/>
                </a:lnTo>
                <a:lnTo>
                  <a:pt x="2330" y="1236"/>
                </a:lnTo>
                <a:lnTo>
                  <a:pt x="2370" y="1236"/>
                </a:lnTo>
                <a:lnTo>
                  <a:pt x="2411" y="1219"/>
                </a:lnTo>
                <a:lnTo>
                  <a:pt x="2430" y="1165"/>
                </a:lnTo>
                <a:lnTo>
                  <a:pt x="2472" y="1165"/>
                </a:lnTo>
                <a:lnTo>
                  <a:pt x="2491" y="1165"/>
                </a:lnTo>
                <a:lnTo>
                  <a:pt x="2532" y="1165"/>
                </a:lnTo>
                <a:lnTo>
                  <a:pt x="2553" y="1182"/>
                </a:lnTo>
                <a:lnTo>
                  <a:pt x="2593" y="1219"/>
                </a:lnTo>
                <a:lnTo>
                  <a:pt x="2612" y="1219"/>
                </a:lnTo>
                <a:lnTo>
                  <a:pt x="2653" y="1219"/>
                </a:lnTo>
                <a:lnTo>
                  <a:pt x="2712" y="1236"/>
                </a:lnTo>
                <a:lnTo>
                  <a:pt x="2753" y="1236"/>
                </a:lnTo>
                <a:lnTo>
                  <a:pt x="2793" y="1253"/>
                </a:lnTo>
                <a:lnTo>
                  <a:pt x="2852" y="1253"/>
                </a:lnTo>
                <a:lnTo>
                  <a:pt x="2912" y="1236"/>
                </a:lnTo>
                <a:lnTo>
                  <a:pt x="2975" y="1236"/>
                </a:lnTo>
                <a:lnTo>
                  <a:pt x="3035" y="1236"/>
                </a:lnTo>
                <a:lnTo>
                  <a:pt x="3054" y="1236"/>
                </a:lnTo>
                <a:lnTo>
                  <a:pt x="3075" y="1236"/>
                </a:lnTo>
                <a:lnTo>
                  <a:pt x="3094" y="1219"/>
                </a:lnTo>
                <a:lnTo>
                  <a:pt x="3115" y="1182"/>
                </a:lnTo>
                <a:lnTo>
                  <a:pt x="3135" y="1165"/>
                </a:lnTo>
                <a:lnTo>
                  <a:pt x="3135" y="1129"/>
                </a:lnTo>
                <a:lnTo>
                  <a:pt x="3175" y="1110"/>
                </a:lnTo>
                <a:lnTo>
                  <a:pt x="3215" y="1110"/>
                </a:lnTo>
                <a:lnTo>
                  <a:pt x="3275" y="1110"/>
                </a:lnTo>
                <a:lnTo>
                  <a:pt x="3315" y="1146"/>
                </a:lnTo>
                <a:lnTo>
                  <a:pt x="3334" y="1182"/>
                </a:lnTo>
                <a:lnTo>
                  <a:pt x="3334" y="1236"/>
                </a:lnTo>
                <a:lnTo>
                  <a:pt x="3374" y="1236"/>
                </a:lnTo>
                <a:lnTo>
                  <a:pt x="3394" y="1253"/>
                </a:lnTo>
                <a:lnTo>
                  <a:pt x="3436" y="1273"/>
                </a:lnTo>
                <a:lnTo>
                  <a:pt x="3457" y="1290"/>
                </a:lnTo>
                <a:lnTo>
                  <a:pt x="3457" y="1309"/>
                </a:lnTo>
                <a:lnTo>
                  <a:pt x="3497" y="1325"/>
                </a:lnTo>
                <a:lnTo>
                  <a:pt x="3536" y="1309"/>
                </a:lnTo>
                <a:lnTo>
                  <a:pt x="3536" y="1290"/>
                </a:lnTo>
                <a:lnTo>
                  <a:pt x="3576" y="1290"/>
                </a:lnTo>
                <a:lnTo>
                  <a:pt x="3576" y="1309"/>
                </a:lnTo>
                <a:lnTo>
                  <a:pt x="3557" y="1342"/>
                </a:lnTo>
                <a:lnTo>
                  <a:pt x="3536" y="1378"/>
                </a:lnTo>
                <a:lnTo>
                  <a:pt x="3517" y="1396"/>
                </a:lnTo>
                <a:lnTo>
                  <a:pt x="3497" y="1396"/>
                </a:lnTo>
                <a:lnTo>
                  <a:pt x="3457" y="1415"/>
                </a:lnTo>
                <a:lnTo>
                  <a:pt x="3476" y="1449"/>
                </a:lnTo>
                <a:lnTo>
                  <a:pt x="3457" y="1468"/>
                </a:lnTo>
                <a:lnTo>
                  <a:pt x="3457" y="148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2" name="Freeform 106"/>
          <p:cNvSpPr>
            <a:spLocks/>
          </p:cNvSpPr>
          <p:nvPr/>
        </p:nvSpPr>
        <p:spPr bwMode="gray">
          <a:xfrm>
            <a:off x="5768975" y="2989263"/>
            <a:ext cx="1319213" cy="776287"/>
          </a:xfrm>
          <a:custGeom>
            <a:avLst/>
            <a:gdLst>
              <a:gd name="T0" fmla="*/ 2147483647 w 1891"/>
              <a:gd name="T1" fmla="*/ 2147483647 h 1074"/>
              <a:gd name="T2" fmla="*/ 2147483647 w 1891"/>
              <a:gd name="T3" fmla="*/ 2147483647 h 1074"/>
              <a:gd name="T4" fmla="*/ 2147483647 w 1891"/>
              <a:gd name="T5" fmla="*/ 2147483647 h 1074"/>
              <a:gd name="T6" fmla="*/ 2147483647 w 1891"/>
              <a:gd name="T7" fmla="*/ 2147483647 h 1074"/>
              <a:gd name="T8" fmla="*/ 2147483647 w 1891"/>
              <a:gd name="T9" fmla="*/ 2147483647 h 1074"/>
              <a:gd name="T10" fmla="*/ 2147483647 w 1891"/>
              <a:gd name="T11" fmla="*/ 2147483647 h 1074"/>
              <a:gd name="T12" fmla="*/ 2147483647 w 1891"/>
              <a:gd name="T13" fmla="*/ 2147483647 h 1074"/>
              <a:gd name="T14" fmla="*/ 2147483647 w 1891"/>
              <a:gd name="T15" fmla="*/ 2147483647 h 1074"/>
              <a:gd name="T16" fmla="*/ 2147483647 w 1891"/>
              <a:gd name="T17" fmla="*/ 2147483647 h 1074"/>
              <a:gd name="T18" fmla="*/ 2147483647 w 1891"/>
              <a:gd name="T19" fmla="*/ 2147483647 h 1074"/>
              <a:gd name="T20" fmla="*/ 2147483647 w 1891"/>
              <a:gd name="T21" fmla="*/ 2147483647 h 1074"/>
              <a:gd name="T22" fmla="*/ 2147483647 w 1891"/>
              <a:gd name="T23" fmla="*/ 2147483647 h 1074"/>
              <a:gd name="T24" fmla="*/ 2147483647 w 1891"/>
              <a:gd name="T25" fmla="*/ 2147483647 h 1074"/>
              <a:gd name="T26" fmla="*/ 2147483647 w 1891"/>
              <a:gd name="T27" fmla="*/ 2147483647 h 1074"/>
              <a:gd name="T28" fmla="*/ 2147483647 w 1891"/>
              <a:gd name="T29" fmla="*/ 2147483647 h 1074"/>
              <a:gd name="T30" fmla="*/ 2147483647 w 1891"/>
              <a:gd name="T31" fmla="*/ 2147483647 h 1074"/>
              <a:gd name="T32" fmla="*/ 2147483647 w 1891"/>
              <a:gd name="T33" fmla="*/ 2147483647 h 1074"/>
              <a:gd name="T34" fmla="*/ 2147483647 w 1891"/>
              <a:gd name="T35" fmla="*/ 2147483647 h 1074"/>
              <a:gd name="T36" fmla="*/ 2147483647 w 1891"/>
              <a:gd name="T37" fmla="*/ 2147483647 h 1074"/>
              <a:gd name="T38" fmla="*/ 2147483647 w 1891"/>
              <a:gd name="T39" fmla="*/ 2147483647 h 1074"/>
              <a:gd name="T40" fmla="*/ 2147483647 w 1891"/>
              <a:gd name="T41" fmla="*/ 2147483647 h 1074"/>
              <a:gd name="T42" fmla="*/ 2147483647 w 1891"/>
              <a:gd name="T43" fmla="*/ 2147483647 h 1074"/>
              <a:gd name="T44" fmla="*/ 2147483647 w 1891"/>
              <a:gd name="T45" fmla="*/ 0 h 1074"/>
              <a:gd name="T46" fmla="*/ 2147483647 w 1891"/>
              <a:gd name="T47" fmla="*/ 2147483647 h 1074"/>
              <a:gd name="T48" fmla="*/ 2147483647 w 1891"/>
              <a:gd name="T49" fmla="*/ 2147483647 h 1074"/>
              <a:gd name="T50" fmla="*/ 2147483647 w 1891"/>
              <a:gd name="T51" fmla="*/ 2147483647 h 1074"/>
              <a:gd name="T52" fmla="*/ 2147483647 w 1891"/>
              <a:gd name="T53" fmla="*/ 2147483647 h 1074"/>
              <a:gd name="T54" fmla="*/ 2147483647 w 1891"/>
              <a:gd name="T55" fmla="*/ 2147483647 h 1074"/>
              <a:gd name="T56" fmla="*/ 2147483647 w 1891"/>
              <a:gd name="T57" fmla="*/ 2147483647 h 1074"/>
              <a:gd name="T58" fmla="*/ 2147483647 w 1891"/>
              <a:gd name="T59" fmla="*/ 2147483647 h 1074"/>
              <a:gd name="T60" fmla="*/ 2147483647 w 1891"/>
              <a:gd name="T61" fmla="*/ 2147483647 h 1074"/>
              <a:gd name="T62" fmla="*/ 2147483647 w 1891"/>
              <a:gd name="T63" fmla="*/ 2147483647 h 1074"/>
              <a:gd name="T64" fmla="*/ 2147483647 w 1891"/>
              <a:gd name="T65" fmla="*/ 2147483647 h 1074"/>
              <a:gd name="T66" fmla="*/ 2147483647 w 1891"/>
              <a:gd name="T67" fmla="*/ 2147483647 h 1074"/>
              <a:gd name="T68" fmla="*/ 0 w 1891"/>
              <a:gd name="T69" fmla="*/ 2147483647 h 1074"/>
              <a:gd name="T70" fmla="*/ 2147483647 w 1891"/>
              <a:gd name="T71" fmla="*/ 2147483647 h 1074"/>
              <a:gd name="T72" fmla="*/ 2147483647 w 1891"/>
              <a:gd name="T73" fmla="*/ 2147483647 h 1074"/>
              <a:gd name="T74" fmla="*/ 2147483647 w 1891"/>
              <a:gd name="T75" fmla="*/ 2147483647 h 1074"/>
              <a:gd name="T76" fmla="*/ 2147483647 w 1891"/>
              <a:gd name="T77" fmla="*/ 2147483647 h 1074"/>
              <a:gd name="T78" fmla="*/ 2147483647 w 1891"/>
              <a:gd name="T79" fmla="*/ 2147483647 h 1074"/>
              <a:gd name="T80" fmla="*/ 2147483647 w 1891"/>
              <a:gd name="T81" fmla="*/ 2147483647 h 1074"/>
              <a:gd name="T82" fmla="*/ 2147483647 w 1891"/>
              <a:gd name="T83" fmla="*/ 2147483647 h 1074"/>
              <a:gd name="T84" fmla="*/ 2147483647 w 1891"/>
              <a:gd name="T85" fmla="*/ 2147483647 h 1074"/>
              <a:gd name="T86" fmla="*/ 2147483647 w 1891"/>
              <a:gd name="T87" fmla="*/ 2147483647 h 1074"/>
              <a:gd name="T88" fmla="*/ 2147483647 w 1891"/>
              <a:gd name="T89" fmla="*/ 2147483647 h 1074"/>
              <a:gd name="T90" fmla="*/ 2147483647 w 1891"/>
              <a:gd name="T91" fmla="*/ 2147483647 h 1074"/>
              <a:gd name="T92" fmla="*/ 2147483647 w 1891"/>
              <a:gd name="T93" fmla="*/ 2147483647 h 1074"/>
              <a:gd name="T94" fmla="*/ 2147483647 w 1891"/>
              <a:gd name="T95" fmla="*/ 2147483647 h 1074"/>
              <a:gd name="T96" fmla="*/ 2147483647 w 1891"/>
              <a:gd name="T97" fmla="*/ 2147483647 h 1074"/>
              <a:gd name="T98" fmla="*/ 2147483647 w 1891"/>
              <a:gd name="T99" fmla="*/ 2147483647 h 1074"/>
              <a:gd name="T100" fmla="*/ 2147483647 w 1891"/>
              <a:gd name="T101" fmla="*/ 2147483647 h 1074"/>
              <a:gd name="T102" fmla="*/ 2147483647 w 1891"/>
              <a:gd name="T103" fmla="*/ 2147483647 h 1074"/>
              <a:gd name="T104" fmla="*/ 2147483647 w 1891"/>
              <a:gd name="T105" fmla="*/ 2147483647 h 1074"/>
              <a:gd name="T106" fmla="*/ 2147483647 w 1891"/>
              <a:gd name="T107" fmla="*/ 2147483647 h 1074"/>
              <a:gd name="T108" fmla="*/ 2147483647 w 1891"/>
              <a:gd name="T109" fmla="*/ 2147483647 h 1074"/>
              <a:gd name="T110" fmla="*/ 2147483647 w 1891"/>
              <a:gd name="T111" fmla="*/ 2147483647 h 1074"/>
              <a:gd name="T112" fmla="*/ 2147483647 w 1891"/>
              <a:gd name="T113" fmla="*/ 2147483647 h 1074"/>
              <a:gd name="T114" fmla="*/ 2147483647 w 1891"/>
              <a:gd name="T115" fmla="*/ 2147483647 h 1074"/>
              <a:gd name="T116" fmla="*/ 2147483647 w 1891"/>
              <a:gd name="T117" fmla="*/ 2147483647 h 1074"/>
              <a:gd name="T118" fmla="*/ 2147483647 w 1891"/>
              <a:gd name="T119" fmla="*/ 2147483647 h 1074"/>
              <a:gd name="T120" fmla="*/ 2147483647 w 1891"/>
              <a:gd name="T121" fmla="*/ 2147483647 h 1074"/>
              <a:gd name="T122" fmla="*/ 2147483647 w 1891"/>
              <a:gd name="T123" fmla="*/ 2147483647 h 1074"/>
              <a:gd name="T124" fmla="*/ 2147483647 w 1891"/>
              <a:gd name="T125" fmla="*/ 2147483647 h 107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91"/>
              <a:gd name="T190" fmla="*/ 0 h 1074"/>
              <a:gd name="T191" fmla="*/ 1891 w 1891"/>
              <a:gd name="T192" fmla="*/ 1074 h 107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91" h="1074">
                <a:moveTo>
                  <a:pt x="1448" y="681"/>
                </a:moveTo>
                <a:lnTo>
                  <a:pt x="1448" y="662"/>
                </a:lnTo>
                <a:lnTo>
                  <a:pt x="1448" y="644"/>
                </a:lnTo>
                <a:lnTo>
                  <a:pt x="1428" y="644"/>
                </a:lnTo>
                <a:lnTo>
                  <a:pt x="1407" y="644"/>
                </a:lnTo>
                <a:lnTo>
                  <a:pt x="1407" y="625"/>
                </a:lnTo>
                <a:lnTo>
                  <a:pt x="1428" y="608"/>
                </a:lnTo>
                <a:lnTo>
                  <a:pt x="1448" y="591"/>
                </a:lnTo>
                <a:lnTo>
                  <a:pt x="1488" y="571"/>
                </a:lnTo>
                <a:lnTo>
                  <a:pt x="1507" y="554"/>
                </a:lnTo>
                <a:lnTo>
                  <a:pt x="1488" y="554"/>
                </a:lnTo>
                <a:lnTo>
                  <a:pt x="1469" y="554"/>
                </a:lnTo>
                <a:lnTo>
                  <a:pt x="1448" y="539"/>
                </a:lnTo>
                <a:lnTo>
                  <a:pt x="1448" y="554"/>
                </a:lnTo>
                <a:lnTo>
                  <a:pt x="1428" y="554"/>
                </a:lnTo>
                <a:lnTo>
                  <a:pt x="1428" y="571"/>
                </a:lnTo>
                <a:lnTo>
                  <a:pt x="1407" y="571"/>
                </a:lnTo>
                <a:lnTo>
                  <a:pt x="1388" y="554"/>
                </a:lnTo>
                <a:lnTo>
                  <a:pt x="1388" y="539"/>
                </a:lnTo>
                <a:lnTo>
                  <a:pt x="1367" y="539"/>
                </a:lnTo>
                <a:lnTo>
                  <a:pt x="1348" y="520"/>
                </a:lnTo>
                <a:lnTo>
                  <a:pt x="1367" y="502"/>
                </a:lnTo>
                <a:lnTo>
                  <a:pt x="1407" y="502"/>
                </a:lnTo>
                <a:lnTo>
                  <a:pt x="1428" y="483"/>
                </a:lnTo>
                <a:lnTo>
                  <a:pt x="1448" y="466"/>
                </a:lnTo>
                <a:lnTo>
                  <a:pt x="1448" y="449"/>
                </a:lnTo>
                <a:lnTo>
                  <a:pt x="1469" y="449"/>
                </a:lnTo>
                <a:lnTo>
                  <a:pt x="1488" y="466"/>
                </a:lnTo>
                <a:lnTo>
                  <a:pt x="1469" y="483"/>
                </a:lnTo>
                <a:lnTo>
                  <a:pt x="1469" y="502"/>
                </a:lnTo>
                <a:lnTo>
                  <a:pt x="1507" y="502"/>
                </a:lnTo>
                <a:lnTo>
                  <a:pt x="1528" y="483"/>
                </a:lnTo>
                <a:lnTo>
                  <a:pt x="1568" y="466"/>
                </a:lnTo>
                <a:lnTo>
                  <a:pt x="1568" y="483"/>
                </a:lnTo>
                <a:lnTo>
                  <a:pt x="1588" y="483"/>
                </a:lnTo>
                <a:lnTo>
                  <a:pt x="1588" y="502"/>
                </a:lnTo>
                <a:lnTo>
                  <a:pt x="1588" y="520"/>
                </a:lnTo>
                <a:lnTo>
                  <a:pt x="1568" y="520"/>
                </a:lnTo>
                <a:lnTo>
                  <a:pt x="1568" y="539"/>
                </a:lnTo>
                <a:lnTo>
                  <a:pt x="1588" y="539"/>
                </a:lnTo>
                <a:lnTo>
                  <a:pt x="1609" y="539"/>
                </a:lnTo>
                <a:lnTo>
                  <a:pt x="1628" y="539"/>
                </a:lnTo>
                <a:lnTo>
                  <a:pt x="1647" y="554"/>
                </a:lnTo>
                <a:lnTo>
                  <a:pt x="1647" y="571"/>
                </a:lnTo>
                <a:lnTo>
                  <a:pt x="1628" y="571"/>
                </a:lnTo>
                <a:lnTo>
                  <a:pt x="1628" y="591"/>
                </a:lnTo>
                <a:lnTo>
                  <a:pt x="1647" y="591"/>
                </a:lnTo>
                <a:lnTo>
                  <a:pt x="1647" y="608"/>
                </a:lnTo>
                <a:lnTo>
                  <a:pt x="1628" y="608"/>
                </a:lnTo>
                <a:lnTo>
                  <a:pt x="1628" y="625"/>
                </a:lnTo>
                <a:lnTo>
                  <a:pt x="1628" y="644"/>
                </a:lnTo>
                <a:lnTo>
                  <a:pt x="1647" y="644"/>
                </a:lnTo>
                <a:lnTo>
                  <a:pt x="1668" y="644"/>
                </a:lnTo>
                <a:lnTo>
                  <a:pt x="1687" y="625"/>
                </a:lnTo>
                <a:lnTo>
                  <a:pt x="1709" y="625"/>
                </a:lnTo>
                <a:lnTo>
                  <a:pt x="1709" y="608"/>
                </a:lnTo>
                <a:lnTo>
                  <a:pt x="1709" y="591"/>
                </a:lnTo>
                <a:lnTo>
                  <a:pt x="1709" y="554"/>
                </a:lnTo>
                <a:lnTo>
                  <a:pt x="1709" y="539"/>
                </a:lnTo>
                <a:lnTo>
                  <a:pt x="1668" y="520"/>
                </a:lnTo>
                <a:lnTo>
                  <a:pt x="1668" y="502"/>
                </a:lnTo>
                <a:lnTo>
                  <a:pt x="1647" y="483"/>
                </a:lnTo>
                <a:lnTo>
                  <a:pt x="1647" y="466"/>
                </a:lnTo>
                <a:lnTo>
                  <a:pt x="1668" y="466"/>
                </a:lnTo>
                <a:lnTo>
                  <a:pt x="1687" y="466"/>
                </a:lnTo>
                <a:lnTo>
                  <a:pt x="1709" y="466"/>
                </a:lnTo>
                <a:lnTo>
                  <a:pt x="1709" y="449"/>
                </a:lnTo>
                <a:lnTo>
                  <a:pt x="1709" y="429"/>
                </a:lnTo>
                <a:lnTo>
                  <a:pt x="1730" y="412"/>
                </a:lnTo>
                <a:lnTo>
                  <a:pt x="1751" y="395"/>
                </a:lnTo>
                <a:lnTo>
                  <a:pt x="1770" y="376"/>
                </a:lnTo>
                <a:lnTo>
                  <a:pt x="1770" y="358"/>
                </a:lnTo>
                <a:lnTo>
                  <a:pt x="1789" y="339"/>
                </a:lnTo>
                <a:lnTo>
                  <a:pt x="1770" y="305"/>
                </a:lnTo>
                <a:lnTo>
                  <a:pt x="1810" y="286"/>
                </a:lnTo>
                <a:lnTo>
                  <a:pt x="1830" y="286"/>
                </a:lnTo>
                <a:lnTo>
                  <a:pt x="1851" y="268"/>
                </a:lnTo>
                <a:lnTo>
                  <a:pt x="1870" y="232"/>
                </a:lnTo>
                <a:lnTo>
                  <a:pt x="1891" y="199"/>
                </a:lnTo>
                <a:lnTo>
                  <a:pt x="1891" y="180"/>
                </a:lnTo>
                <a:lnTo>
                  <a:pt x="1851" y="180"/>
                </a:lnTo>
                <a:lnTo>
                  <a:pt x="1851" y="199"/>
                </a:lnTo>
                <a:lnTo>
                  <a:pt x="1810" y="215"/>
                </a:lnTo>
                <a:lnTo>
                  <a:pt x="1770" y="199"/>
                </a:lnTo>
                <a:lnTo>
                  <a:pt x="1770" y="180"/>
                </a:lnTo>
                <a:lnTo>
                  <a:pt x="1751" y="163"/>
                </a:lnTo>
                <a:lnTo>
                  <a:pt x="1709" y="143"/>
                </a:lnTo>
                <a:lnTo>
                  <a:pt x="1687" y="126"/>
                </a:lnTo>
                <a:lnTo>
                  <a:pt x="1647" y="126"/>
                </a:lnTo>
                <a:lnTo>
                  <a:pt x="1647" y="72"/>
                </a:lnTo>
                <a:lnTo>
                  <a:pt x="1628" y="36"/>
                </a:lnTo>
                <a:lnTo>
                  <a:pt x="1588" y="0"/>
                </a:lnTo>
                <a:lnTo>
                  <a:pt x="1528" y="0"/>
                </a:lnTo>
                <a:lnTo>
                  <a:pt x="1488" y="0"/>
                </a:lnTo>
                <a:lnTo>
                  <a:pt x="1448" y="19"/>
                </a:lnTo>
                <a:lnTo>
                  <a:pt x="1448" y="55"/>
                </a:lnTo>
                <a:lnTo>
                  <a:pt x="1428" y="72"/>
                </a:lnTo>
                <a:lnTo>
                  <a:pt x="1407" y="109"/>
                </a:lnTo>
                <a:lnTo>
                  <a:pt x="1388" y="126"/>
                </a:lnTo>
                <a:lnTo>
                  <a:pt x="1367" y="126"/>
                </a:lnTo>
                <a:lnTo>
                  <a:pt x="1348" y="126"/>
                </a:lnTo>
                <a:lnTo>
                  <a:pt x="1288" y="126"/>
                </a:lnTo>
                <a:lnTo>
                  <a:pt x="1225" y="126"/>
                </a:lnTo>
                <a:lnTo>
                  <a:pt x="1165" y="143"/>
                </a:lnTo>
                <a:lnTo>
                  <a:pt x="1106" y="143"/>
                </a:lnTo>
                <a:lnTo>
                  <a:pt x="1066" y="126"/>
                </a:lnTo>
                <a:lnTo>
                  <a:pt x="1025" y="126"/>
                </a:lnTo>
                <a:lnTo>
                  <a:pt x="966" y="109"/>
                </a:lnTo>
                <a:lnTo>
                  <a:pt x="925" y="109"/>
                </a:lnTo>
                <a:lnTo>
                  <a:pt x="906" y="109"/>
                </a:lnTo>
                <a:lnTo>
                  <a:pt x="866" y="72"/>
                </a:lnTo>
                <a:lnTo>
                  <a:pt x="845" y="55"/>
                </a:lnTo>
                <a:lnTo>
                  <a:pt x="804" y="55"/>
                </a:lnTo>
                <a:lnTo>
                  <a:pt x="785" y="55"/>
                </a:lnTo>
                <a:lnTo>
                  <a:pt x="743" y="55"/>
                </a:lnTo>
                <a:lnTo>
                  <a:pt x="724" y="109"/>
                </a:lnTo>
                <a:lnTo>
                  <a:pt x="683" y="126"/>
                </a:lnTo>
                <a:lnTo>
                  <a:pt x="643" y="126"/>
                </a:lnTo>
                <a:lnTo>
                  <a:pt x="624" y="109"/>
                </a:lnTo>
                <a:lnTo>
                  <a:pt x="603" y="90"/>
                </a:lnTo>
                <a:lnTo>
                  <a:pt x="563" y="90"/>
                </a:lnTo>
                <a:lnTo>
                  <a:pt x="543" y="109"/>
                </a:lnTo>
                <a:lnTo>
                  <a:pt x="543" y="126"/>
                </a:lnTo>
                <a:lnTo>
                  <a:pt x="484" y="126"/>
                </a:lnTo>
                <a:lnTo>
                  <a:pt x="422" y="163"/>
                </a:lnTo>
                <a:lnTo>
                  <a:pt x="382" y="180"/>
                </a:lnTo>
                <a:lnTo>
                  <a:pt x="382" y="199"/>
                </a:lnTo>
                <a:lnTo>
                  <a:pt x="363" y="232"/>
                </a:lnTo>
                <a:lnTo>
                  <a:pt x="323" y="232"/>
                </a:lnTo>
                <a:lnTo>
                  <a:pt x="282" y="251"/>
                </a:lnTo>
                <a:lnTo>
                  <a:pt x="261" y="286"/>
                </a:lnTo>
                <a:lnTo>
                  <a:pt x="221" y="286"/>
                </a:lnTo>
                <a:lnTo>
                  <a:pt x="200" y="358"/>
                </a:lnTo>
                <a:lnTo>
                  <a:pt x="200" y="412"/>
                </a:lnTo>
                <a:lnTo>
                  <a:pt x="140" y="429"/>
                </a:lnTo>
                <a:lnTo>
                  <a:pt x="100" y="449"/>
                </a:lnTo>
                <a:lnTo>
                  <a:pt x="60" y="466"/>
                </a:lnTo>
                <a:lnTo>
                  <a:pt x="21" y="466"/>
                </a:lnTo>
                <a:lnTo>
                  <a:pt x="0" y="483"/>
                </a:lnTo>
                <a:lnTo>
                  <a:pt x="0" y="520"/>
                </a:lnTo>
                <a:lnTo>
                  <a:pt x="21" y="539"/>
                </a:lnTo>
                <a:lnTo>
                  <a:pt x="40" y="539"/>
                </a:lnTo>
                <a:lnTo>
                  <a:pt x="40" y="554"/>
                </a:lnTo>
                <a:lnTo>
                  <a:pt x="40" y="571"/>
                </a:lnTo>
                <a:lnTo>
                  <a:pt x="60" y="571"/>
                </a:lnTo>
                <a:lnTo>
                  <a:pt x="60" y="591"/>
                </a:lnTo>
                <a:lnTo>
                  <a:pt x="81" y="591"/>
                </a:lnTo>
                <a:lnTo>
                  <a:pt x="100" y="608"/>
                </a:lnTo>
                <a:lnTo>
                  <a:pt x="121" y="608"/>
                </a:lnTo>
                <a:lnTo>
                  <a:pt x="140" y="608"/>
                </a:lnTo>
                <a:lnTo>
                  <a:pt x="161" y="591"/>
                </a:lnTo>
                <a:lnTo>
                  <a:pt x="181" y="591"/>
                </a:lnTo>
                <a:lnTo>
                  <a:pt x="200" y="591"/>
                </a:lnTo>
                <a:lnTo>
                  <a:pt x="200" y="608"/>
                </a:lnTo>
                <a:lnTo>
                  <a:pt x="200" y="625"/>
                </a:lnTo>
                <a:lnTo>
                  <a:pt x="200" y="644"/>
                </a:lnTo>
                <a:lnTo>
                  <a:pt x="181" y="644"/>
                </a:lnTo>
                <a:lnTo>
                  <a:pt x="161" y="662"/>
                </a:lnTo>
                <a:lnTo>
                  <a:pt x="181" y="681"/>
                </a:lnTo>
                <a:lnTo>
                  <a:pt x="181" y="698"/>
                </a:lnTo>
                <a:lnTo>
                  <a:pt x="181" y="715"/>
                </a:lnTo>
                <a:lnTo>
                  <a:pt x="161" y="715"/>
                </a:lnTo>
                <a:lnTo>
                  <a:pt x="161" y="735"/>
                </a:lnTo>
                <a:lnTo>
                  <a:pt x="161" y="752"/>
                </a:lnTo>
                <a:lnTo>
                  <a:pt x="181" y="752"/>
                </a:lnTo>
                <a:lnTo>
                  <a:pt x="200" y="769"/>
                </a:lnTo>
                <a:lnTo>
                  <a:pt x="221" y="769"/>
                </a:lnTo>
                <a:lnTo>
                  <a:pt x="261" y="769"/>
                </a:lnTo>
                <a:lnTo>
                  <a:pt x="282" y="788"/>
                </a:lnTo>
                <a:lnTo>
                  <a:pt x="303" y="806"/>
                </a:lnTo>
                <a:lnTo>
                  <a:pt x="323" y="806"/>
                </a:lnTo>
                <a:lnTo>
                  <a:pt x="323" y="825"/>
                </a:lnTo>
                <a:lnTo>
                  <a:pt x="344" y="825"/>
                </a:lnTo>
                <a:lnTo>
                  <a:pt x="363" y="825"/>
                </a:lnTo>
                <a:lnTo>
                  <a:pt x="382" y="842"/>
                </a:lnTo>
                <a:lnTo>
                  <a:pt x="403" y="842"/>
                </a:lnTo>
                <a:lnTo>
                  <a:pt x="422" y="842"/>
                </a:lnTo>
                <a:lnTo>
                  <a:pt x="444" y="842"/>
                </a:lnTo>
                <a:lnTo>
                  <a:pt x="463" y="842"/>
                </a:lnTo>
                <a:lnTo>
                  <a:pt x="463" y="859"/>
                </a:lnTo>
                <a:lnTo>
                  <a:pt x="484" y="859"/>
                </a:lnTo>
                <a:lnTo>
                  <a:pt x="503" y="842"/>
                </a:lnTo>
                <a:lnTo>
                  <a:pt x="522" y="842"/>
                </a:lnTo>
                <a:lnTo>
                  <a:pt x="543" y="842"/>
                </a:lnTo>
                <a:lnTo>
                  <a:pt x="563" y="842"/>
                </a:lnTo>
                <a:lnTo>
                  <a:pt x="584" y="842"/>
                </a:lnTo>
                <a:lnTo>
                  <a:pt x="603" y="842"/>
                </a:lnTo>
                <a:lnTo>
                  <a:pt x="624" y="825"/>
                </a:lnTo>
                <a:lnTo>
                  <a:pt x="643" y="806"/>
                </a:lnTo>
                <a:lnTo>
                  <a:pt x="662" y="806"/>
                </a:lnTo>
                <a:lnTo>
                  <a:pt x="683" y="806"/>
                </a:lnTo>
                <a:lnTo>
                  <a:pt x="703" y="825"/>
                </a:lnTo>
                <a:lnTo>
                  <a:pt x="743" y="842"/>
                </a:lnTo>
                <a:lnTo>
                  <a:pt x="766" y="842"/>
                </a:lnTo>
                <a:lnTo>
                  <a:pt x="766" y="859"/>
                </a:lnTo>
                <a:lnTo>
                  <a:pt x="766" y="896"/>
                </a:lnTo>
                <a:lnTo>
                  <a:pt x="766" y="911"/>
                </a:lnTo>
                <a:lnTo>
                  <a:pt x="743" y="930"/>
                </a:lnTo>
                <a:lnTo>
                  <a:pt x="743" y="948"/>
                </a:lnTo>
                <a:lnTo>
                  <a:pt x="743" y="967"/>
                </a:lnTo>
                <a:lnTo>
                  <a:pt x="766" y="967"/>
                </a:lnTo>
                <a:lnTo>
                  <a:pt x="766" y="948"/>
                </a:lnTo>
                <a:lnTo>
                  <a:pt x="785" y="967"/>
                </a:lnTo>
                <a:lnTo>
                  <a:pt x="785" y="984"/>
                </a:lnTo>
                <a:lnTo>
                  <a:pt x="785" y="1001"/>
                </a:lnTo>
                <a:lnTo>
                  <a:pt x="804" y="1021"/>
                </a:lnTo>
                <a:lnTo>
                  <a:pt x="826" y="1038"/>
                </a:lnTo>
                <a:lnTo>
                  <a:pt x="845" y="1021"/>
                </a:lnTo>
                <a:lnTo>
                  <a:pt x="845" y="1038"/>
                </a:lnTo>
                <a:lnTo>
                  <a:pt x="845" y="1021"/>
                </a:lnTo>
                <a:lnTo>
                  <a:pt x="845" y="1001"/>
                </a:lnTo>
                <a:lnTo>
                  <a:pt x="866" y="1001"/>
                </a:lnTo>
                <a:lnTo>
                  <a:pt x="885" y="1001"/>
                </a:lnTo>
                <a:lnTo>
                  <a:pt x="906" y="1001"/>
                </a:lnTo>
                <a:lnTo>
                  <a:pt x="925" y="1001"/>
                </a:lnTo>
                <a:lnTo>
                  <a:pt x="945" y="1001"/>
                </a:lnTo>
                <a:lnTo>
                  <a:pt x="966" y="984"/>
                </a:lnTo>
                <a:lnTo>
                  <a:pt x="985" y="984"/>
                </a:lnTo>
                <a:lnTo>
                  <a:pt x="985" y="1001"/>
                </a:lnTo>
                <a:lnTo>
                  <a:pt x="1025" y="1001"/>
                </a:lnTo>
                <a:lnTo>
                  <a:pt x="1025" y="1021"/>
                </a:lnTo>
                <a:lnTo>
                  <a:pt x="1046" y="1021"/>
                </a:lnTo>
                <a:lnTo>
                  <a:pt x="1046" y="1038"/>
                </a:lnTo>
                <a:lnTo>
                  <a:pt x="1066" y="1038"/>
                </a:lnTo>
                <a:lnTo>
                  <a:pt x="1046" y="1038"/>
                </a:lnTo>
                <a:lnTo>
                  <a:pt x="1066" y="1038"/>
                </a:lnTo>
                <a:lnTo>
                  <a:pt x="1085" y="1038"/>
                </a:lnTo>
                <a:lnTo>
                  <a:pt x="1106" y="1055"/>
                </a:lnTo>
                <a:lnTo>
                  <a:pt x="1106" y="1074"/>
                </a:lnTo>
                <a:lnTo>
                  <a:pt x="1125" y="1055"/>
                </a:lnTo>
                <a:lnTo>
                  <a:pt x="1125" y="1038"/>
                </a:lnTo>
                <a:lnTo>
                  <a:pt x="1146" y="1038"/>
                </a:lnTo>
                <a:lnTo>
                  <a:pt x="1165" y="1038"/>
                </a:lnTo>
                <a:lnTo>
                  <a:pt x="1165" y="1021"/>
                </a:lnTo>
                <a:lnTo>
                  <a:pt x="1206" y="1021"/>
                </a:lnTo>
                <a:lnTo>
                  <a:pt x="1225" y="1021"/>
                </a:lnTo>
                <a:lnTo>
                  <a:pt x="1225" y="1001"/>
                </a:lnTo>
                <a:lnTo>
                  <a:pt x="1248" y="1001"/>
                </a:lnTo>
                <a:lnTo>
                  <a:pt x="1307" y="1001"/>
                </a:lnTo>
                <a:lnTo>
                  <a:pt x="1328" y="984"/>
                </a:lnTo>
                <a:lnTo>
                  <a:pt x="1348" y="967"/>
                </a:lnTo>
                <a:lnTo>
                  <a:pt x="1367" y="948"/>
                </a:lnTo>
                <a:lnTo>
                  <a:pt x="1388" y="948"/>
                </a:lnTo>
                <a:lnTo>
                  <a:pt x="1407" y="911"/>
                </a:lnTo>
                <a:lnTo>
                  <a:pt x="1407" y="896"/>
                </a:lnTo>
                <a:lnTo>
                  <a:pt x="1428" y="879"/>
                </a:lnTo>
                <a:lnTo>
                  <a:pt x="1448" y="859"/>
                </a:lnTo>
                <a:lnTo>
                  <a:pt x="1469" y="842"/>
                </a:lnTo>
                <a:lnTo>
                  <a:pt x="1469" y="825"/>
                </a:lnTo>
                <a:lnTo>
                  <a:pt x="1469" y="806"/>
                </a:lnTo>
                <a:lnTo>
                  <a:pt x="1488" y="769"/>
                </a:lnTo>
                <a:lnTo>
                  <a:pt x="1469" y="752"/>
                </a:lnTo>
                <a:lnTo>
                  <a:pt x="1469" y="715"/>
                </a:lnTo>
                <a:lnTo>
                  <a:pt x="1448" y="698"/>
                </a:lnTo>
                <a:lnTo>
                  <a:pt x="1448" y="68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3" name="Freeform 107"/>
          <p:cNvSpPr>
            <a:spLocks/>
          </p:cNvSpPr>
          <p:nvPr/>
        </p:nvSpPr>
        <p:spPr bwMode="gray">
          <a:xfrm>
            <a:off x="2424113" y="3930650"/>
            <a:ext cx="1014412" cy="1482725"/>
          </a:xfrm>
          <a:custGeom>
            <a:avLst/>
            <a:gdLst>
              <a:gd name="T0" fmla="*/ 2147483647 w 1450"/>
              <a:gd name="T1" fmla="*/ 2147483647 h 2059"/>
              <a:gd name="T2" fmla="*/ 2147483647 w 1450"/>
              <a:gd name="T3" fmla="*/ 2147483647 h 2059"/>
              <a:gd name="T4" fmla="*/ 2147483647 w 1450"/>
              <a:gd name="T5" fmla="*/ 2147483647 h 2059"/>
              <a:gd name="T6" fmla="*/ 2147483647 w 1450"/>
              <a:gd name="T7" fmla="*/ 2147483647 h 2059"/>
              <a:gd name="T8" fmla="*/ 2147483647 w 1450"/>
              <a:gd name="T9" fmla="*/ 2147483647 h 2059"/>
              <a:gd name="T10" fmla="*/ 2147483647 w 1450"/>
              <a:gd name="T11" fmla="*/ 2147483647 h 2059"/>
              <a:gd name="T12" fmla="*/ 2147483647 w 1450"/>
              <a:gd name="T13" fmla="*/ 2147483647 h 2059"/>
              <a:gd name="T14" fmla="*/ 2147483647 w 1450"/>
              <a:gd name="T15" fmla="*/ 2147483647 h 2059"/>
              <a:gd name="T16" fmla="*/ 2147483647 w 1450"/>
              <a:gd name="T17" fmla="*/ 2147483647 h 2059"/>
              <a:gd name="T18" fmla="*/ 2147483647 w 1450"/>
              <a:gd name="T19" fmla="*/ 2147483647 h 2059"/>
              <a:gd name="T20" fmla="*/ 2147483647 w 1450"/>
              <a:gd name="T21" fmla="*/ 2147483647 h 2059"/>
              <a:gd name="T22" fmla="*/ 2147483647 w 1450"/>
              <a:gd name="T23" fmla="*/ 2147483647 h 2059"/>
              <a:gd name="T24" fmla="*/ 2147483647 w 1450"/>
              <a:gd name="T25" fmla="*/ 2147483647 h 2059"/>
              <a:gd name="T26" fmla="*/ 2147483647 w 1450"/>
              <a:gd name="T27" fmla="*/ 2147483647 h 2059"/>
              <a:gd name="T28" fmla="*/ 2147483647 w 1450"/>
              <a:gd name="T29" fmla="*/ 2147483647 h 2059"/>
              <a:gd name="T30" fmla="*/ 2147483647 w 1450"/>
              <a:gd name="T31" fmla="*/ 2147483647 h 2059"/>
              <a:gd name="T32" fmla="*/ 2147483647 w 1450"/>
              <a:gd name="T33" fmla="*/ 2147483647 h 2059"/>
              <a:gd name="T34" fmla="*/ 2147483647 w 1450"/>
              <a:gd name="T35" fmla="*/ 2147483647 h 2059"/>
              <a:gd name="T36" fmla="*/ 2147483647 w 1450"/>
              <a:gd name="T37" fmla="*/ 2147483647 h 2059"/>
              <a:gd name="T38" fmla="*/ 2147483647 w 1450"/>
              <a:gd name="T39" fmla="*/ 2147483647 h 2059"/>
              <a:gd name="T40" fmla="*/ 2147483647 w 1450"/>
              <a:gd name="T41" fmla="*/ 2147483647 h 2059"/>
              <a:gd name="T42" fmla="*/ 2147483647 w 1450"/>
              <a:gd name="T43" fmla="*/ 2147483647 h 2059"/>
              <a:gd name="T44" fmla="*/ 2147483647 w 1450"/>
              <a:gd name="T45" fmla="*/ 2147483647 h 2059"/>
              <a:gd name="T46" fmla="*/ 2147483647 w 1450"/>
              <a:gd name="T47" fmla="*/ 2147483647 h 2059"/>
              <a:gd name="T48" fmla="*/ 2147483647 w 1450"/>
              <a:gd name="T49" fmla="*/ 2147483647 h 2059"/>
              <a:gd name="T50" fmla="*/ 2147483647 w 1450"/>
              <a:gd name="T51" fmla="*/ 2147483647 h 2059"/>
              <a:gd name="T52" fmla="*/ 2147483647 w 1450"/>
              <a:gd name="T53" fmla="*/ 2147483647 h 2059"/>
              <a:gd name="T54" fmla="*/ 2147483647 w 1450"/>
              <a:gd name="T55" fmla="*/ 2147483647 h 2059"/>
              <a:gd name="T56" fmla="*/ 2147483647 w 1450"/>
              <a:gd name="T57" fmla="*/ 2147483647 h 2059"/>
              <a:gd name="T58" fmla="*/ 2147483647 w 1450"/>
              <a:gd name="T59" fmla="*/ 2147483647 h 2059"/>
              <a:gd name="T60" fmla="*/ 2147483647 w 1450"/>
              <a:gd name="T61" fmla="*/ 2147483647 h 2059"/>
              <a:gd name="T62" fmla="*/ 2147483647 w 1450"/>
              <a:gd name="T63" fmla="*/ 2147483647 h 2059"/>
              <a:gd name="T64" fmla="*/ 2147483647 w 1450"/>
              <a:gd name="T65" fmla="*/ 2147483647 h 2059"/>
              <a:gd name="T66" fmla="*/ 2147483647 w 1450"/>
              <a:gd name="T67" fmla="*/ 2147483647 h 2059"/>
              <a:gd name="T68" fmla="*/ 2147483647 w 1450"/>
              <a:gd name="T69" fmla="*/ 2147483647 h 2059"/>
              <a:gd name="T70" fmla="*/ 2147483647 w 1450"/>
              <a:gd name="T71" fmla="*/ 2147483647 h 2059"/>
              <a:gd name="T72" fmla="*/ 2147483647 w 1450"/>
              <a:gd name="T73" fmla="*/ 2147483647 h 2059"/>
              <a:gd name="T74" fmla="*/ 2147483647 w 1450"/>
              <a:gd name="T75" fmla="*/ 2147483647 h 2059"/>
              <a:gd name="T76" fmla="*/ 2147483647 w 1450"/>
              <a:gd name="T77" fmla="*/ 2147483647 h 2059"/>
              <a:gd name="T78" fmla="*/ 2147483647 w 1450"/>
              <a:gd name="T79" fmla="*/ 2147483647 h 2059"/>
              <a:gd name="T80" fmla="*/ 2147483647 w 1450"/>
              <a:gd name="T81" fmla="*/ 2147483647 h 2059"/>
              <a:gd name="T82" fmla="*/ 2147483647 w 1450"/>
              <a:gd name="T83" fmla="*/ 2147483647 h 2059"/>
              <a:gd name="T84" fmla="*/ 2147483647 w 1450"/>
              <a:gd name="T85" fmla="*/ 2147483647 h 2059"/>
              <a:gd name="T86" fmla="*/ 2147483647 w 1450"/>
              <a:gd name="T87" fmla="*/ 2147483647 h 2059"/>
              <a:gd name="T88" fmla="*/ 2147483647 w 1450"/>
              <a:gd name="T89" fmla="*/ 2147483647 h 2059"/>
              <a:gd name="T90" fmla="*/ 2147483647 w 1450"/>
              <a:gd name="T91" fmla="*/ 2147483647 h 2059"/>
              <a:gd name="T92" fmla="*/ 2147483647 w 1450"/>
              <a:gd name="T93" fmla="*/ 2147483647 h 2059"/>
              <a:gd name="T94" fmla="*/ 2147483647 w 1450"/>
              <a:gd name="T95" fmla="*/ 2147483647 h 2059"/>
              <a:gd name="T96" fmla="*/ 2147483647 w 1450"/>
              <a:gd name="T97" fmla="*/ 2147483647 h 2059"/>
              <a:gd name="T98" fmla="*/ 2147483647 w 1450"/>
              <a:gd name="T99" fmla="*/ 2147483647 h 2059"/>
              <a:gd name="T100" fmla="*/ 2147483647 w 1450"/>
              <a:gd name="T101" fmla="*/ 2147483647 h 2059"/>
              <a:gd name="T102" fmla="*/ 2147483647 w 1450"/>
              <a:gd name="T103" fmla="*/ 2147483647 h 2059"/>
              <a:gd name="T104" fmla="*/ 0 w 1450"/>
              <a:gd name="T105" fmla="*/ 2147483647 h 2059"/>
              <a:gd name="T106" fmla="*/ 2147483647 w 1450"/>
              <a:gd name="T107" fmla="*/ 2147483647 h 2059"/>
              <a:gd name="T108" fmla="*/ 2147483647 w 1450"/>
              <a:gd name="T109" fmla="*/ 2147483647 h 205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450"/>
              <a:gd name="T166" fmla="*/ 0 h 2059"/>
              <a:gd name="T167" fmla="*/ 1450 w 1450"/>
              <a:gd name="T168" fmla="*/ 2059 h 205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450" h="2059">
                <a:moveTo>
                  <a:pt x="140" y="217"/>
                </a:moveTo>
                <a:lnTo>
                  <a:pt x="121" y="199"/>
                </a:lnTo>
                <a:lnTo>
                  <a:pt x="121" y="180"/>
                </a:lnTo>
                <a:lnTo>
                  <a:pt x="140" y="180"/>
                </a:lnTo>
                <a:lnTo>
                  <a:pt x="140" y="163"/>
                </a:lnTo>
                <a:lnTo>
                  <a:pt x="121" y="163"/>
                </a:lnTo>
                <a:lnTo>
                  <a:pt x="121" y="144"/>
                </a:lnTo>
                <a:lnTo>
                  <a:pt x="102" y="144"/>
                </a:lnTo>
                <a:lnTo>
                  <a:pt x="121" y="126"/>
                </a:lnTo>
                <a:lnTo>
                  <a:pt x="140" y="109"/>
                </a:lnTo>
                <a:lnTo>
                  <a:pt x="140" y="90"/>
                </a:lnTo>
                <a:lnTo>
                  <a:pt x="161" y="90"/>
                </a:lnTo>
                <a:lnTo>
                  <a:pt x="181" y="90"/>
                </a:lnTo>
                <a:lnTo>
                  <a:pt x="181" y="73"/>
                </a:lnTo>
                <a:lnTo>
                  <a:pt x="181" y="55"/>
                </a:lnTo>
                <a:lnTo>
                  <a:pt x="202" y="36"/>
                </a:lnTo>
                <a:lnTo>
                  <a:pt x="244" y="36"/>
                </a:lnTo>
                <a:lnTo>
                  <a:pt x="263" y="19"/>
                </a:lnTo>
                <a:lnTo>
                  <a:pt x="284" y="19"/>
                </a:lnTo>
                <a:lnTo>
                  <a:pt x="304" y="19"/>
                </a:lnTo>
                <a:lnTo>
                  <a:pt x="323" y="0"/>
                </a:lnTo>
                <a:lnTo>
                  <a:pt x="323" y="19"/>
                </a:lnTo>
                <a:lnTo>
                  <a:pt x="323" y="36"/>
                </a:lnTo>
                <a:lnTo>
                  <a:pt x="304" y="36"/>
                </a:lnTo>
                <a:lnTo>
                  <a:pt x="304" y="55"/>
                </a:lnTo>
                <a:lnTo>
                  <a:pt x="304" y="73"/>
                </a:lnTo>
                <a:lnTo>
                  <a:pt x="323" y="90"/>
                </a:lnTo>
                <a:lnTo>
                  <a:pt x="323" y="73"/>
                </a:lnTo>
                <a:lnTo>
                  <a:pt x="323" y="55"/>
                </a:lnTo>
                <a:lnTo>
                  <a:pt x="323" y="36"/>
                </a:lnTo>
                <a:lnTo>
                  <a:pt x="344" y="19"/>
                </a:lnTo>
                <a:lnTo>
                  <a:pt x="363" y="19"/>
                </a:lnTo>
                <a:lnTo>
                  <a:pt x="384" y="19"/>
                </a:lnTo>
                <a:lnTo>
                  <a:pt x="363" y="19"/>
                </a:lnTo>
                <a:lnTo>
                  <a:pt x="344" y="19"/>
                </a:lnTo>
                <a:lnTo>
                  <a:pt x="363" y="19"/>
                </a:lnTo>
                <a:lnTo>
                  <a:pt x="384" y="19"/>
                </a:lnTo>
                <a:lnTo>
                  <a:pt x="403" y="36"/>
                </a:lnTo>
                <a:lnTo>
                  <a:pt x="424" y="36"/>
                </a:lnTo>
                <a:lnTo>
                  <a:pt x="463" y="36"/>
                </a:lnTo>
                <a:lnTo>
                  <a:pt x="484" y="36"/>
                </a:lnTo>
                <a:lnTo>
                  <a:pt x="484" y="55"/>
                </a:lnTo>
                <a:lnTo>
                  <a:pt x="503" y="55"/>
                </a:lnTo>
                <a:lnTo>
                  <a:pt x="524" y="55"/>
                </a:lnTo>
                <a:lnTo>
                  <a:pt x="544" y="36"/>
                </a:lnTo>
                <a:lnTo>
                  <a:pt x="565" y="36"/>
                </a:lnTo>
                <a:lnTo>
                  <a:pt x="584" y="36"/>
                </a:lnTo>
                <a:lnTo>
                  <a:pt x="603" y="36"/>
                </a:lnTo>
                <a:lnTo>
                  <a:pt x="584" y="36"/>
                </a:lnTo>
                <a:lnTo>
                  <a:pt x="584" y="55"/>
                </a:lnTo>
                <a:lnTo>
                  <a:pt x="603" y="55"/>
                </a:lnTo>
                <a:lnTo>
                  <a:pt x="603" y="73"/>
                </a:lnTo>
                <a:lnTo>
                  <a:pt x="624" y="73"/>
                </a:lnTo>
                <a:lnTo>
                  <a:pt x="643" y="90"/>
                </a:lnTo>
                <a:lnTo>
                  <a:pt x="664" y="90"/>
                </a:lnTo>
                <a:lnTo>
                  <a:pt x="705" y="109"/>
                </a:lnTo>
                <a:lnTo>
                  <a:pt x="705" y="126"/>
                </a:lnTo>
                <a:lnTo>
                  <a:pt x="726" y="144"/>
                </a:lnTo>
                <a:lnTo>
                  <a:pt x="726" y="163"/>
                </a:lnTo>
                <a:lnTo>
                  <a:pt x="766" y="163"/>
                </a:lnTo>
                <a:lnTo>
                  <a:pt x="785" y="180"/>
                </a:lnTo>
                <a:lnTo>
                  <a:pt x="806" y="180"/>
                </a:lnTo>
                <a:lnTo>
                  <a:pt x="826" y="180"/>
                </a:lnTo>
                <a:lnTo>
                  <a:pt x="847" y="180"/>
                </a:lnTo>
                <a:lnTo>
                  <a:pt x="866" y="199"/>
                </a:lnTo>
                <a:lnTo>
                  <a:pt x="906" y="199"/>
                </a:lnTo>
                <a:lnTo>
                  <a:pt x="906" y="217"/>
                </a:lnTo>
                <a:lnTo>
                  <a:pt x="926" y="217"/>
                </a:lnTo>
                <a:lnTo>
                  <a:pt x="926" y="253"/>
                </a:lnTo>
                <a:lnTo>
                  <a:pt x="947" y="270"/>
                </a:lnTo>
                <a:lnTo>
                  <a:pt x="966" y="288"/>
                </a:lnTo>
                <a:lnTo>
                  <a:pt x="987" y="305"/>
                </a:lnTo>
                <a:lnTo>
                  <a:pt x="947" y="322"/>
                </a:lnTo>
                <a:lnTo>
                  <a:pt x="926" y="341"/>
                </a:lnTo>
                <a:lnTo>
                  <a:pt x="926" y="359"/>
                </a:lnTo>
                <a:lnTo>
                  <a:pt x="926" y="376"/>
                </a:lnTo>
                <a:lnTo>
                  <a:pt x="947" y="376"/>
                </a:lnTo>
                <a:lnTo>
                  <a:pt x="947" y="395"/>
                </a:lnTo>
                <a:lnTo>
                  <a:pt x="966" y="395"/>
                </a:lnTo>
                <a:lnTo>
                  <a:pt x="987" y="395"/>
                </a:lnTo>
                <a:lnTo>
                  <a:pt x="1006" y="395"/>
                </a:lnTo>
                <a:lnTo>
                  <a:pt x="1006" y="376"/>
                </a:lnTo>
                <a:lnTo>
                  <a:pt x="1027" y="359"/>
                </a:lnTo>
                <a:lnTo>
                  <a:pt x="1046" y="359"/>
                </a:lnTo>
                <a:lnTo>
                  <a:pt x="1066" y="359"/>
                </a:lnTo>
                <a:lnTo>
                  <a:pt x="1106" y="376"/>
                </a:lnTo>
                <a:lnTo>
                  <a:pt x="1106" y="395"/>
                </a:lnTo>
                <a:lnTo>
                  <a:pt x="1127" y="395"/>
                </a:lnTo>
                <a:lnTo>
                  <a:pt x="1127" y="412"/>
                </a:lnTo>
                <a:lnTo>
                  <a:pt x="1146" y="412"/>
                </a:lnTo>
                <a:lnTo>
                  <a:pt x="1167" y="412"/>
                </a:lnTo>
                <a:lnTo>
                  <a:pt x="1167" y="395"/>
                </a:lnTo>
                <a:lnTo>
                  <a:pt x="1187" y="395"/>
                </a:lnTo>
                <a:lnTo>
                  <a:pt x="1187" y="412"/>
                </a:lnTo>
                <a:lnTo>
                  <a:pt x="1208" y="412"/>
                </a:lnTo>
                <a:lnTo>
                  <a:pt x="1229" y="412"/>
                </a:lnTo>
                <a:lnTo>
                  <a:pt x="1248" y="412"/>
                </a:lnTo>
                <a:lnTo>
                  <a:pt x="1288" y="412"/>
                </a:lnTo>
                <a:lnTo>
                  <a:pt x="1309" y="430"/>
                </a:lnTo>
                <a:lnTo>
                  <a:pt x="1329" y="449"/>
                </a:lnTo>
                <a:lnTo>
                  <a:pt x="1348" y="466"/>
                </a:lnTo>
                <a:lnTo>
                  <a:pt x="1388" y="485"/>
                </a:lnTo>
                <a:lnTo>
                  <a:pt x="1409" y="485"/>
                </a:lnTo>
                <a:lnTo>
                  <a:pt x="1428" y="485"/>
                </a:lnTo>
                <a:lnTo>
                  <a:pt x="1450" y="520"/>
                </a:lnTo>
                <a:lnTo>
                  <a:pt x="1428" y="574"/>
                </a:lnTo>
                <a:lnTo>
                  <a:pt x="1388" y="629"/>
                </a:lnTo>
                <a:lnTo>
                  <a:pt x="1369" y="662"/>
                </a:lnTo>
                <a:lnTo>
                  <a:pt x="1369" y="681"/>
                </a:lnTo>
                <a:lnTo>
                  <a:pt x="1348" y="681"/>
                </a:lnTo>
                <a:lnTo>
                  <a:pt x="1329" y="698"/>
                </a:lnTo>
                <a:lnTo>
                  <a:pt x="1309" y="698"/>
                </a:lnTo>
                <a:lnTo>
                  <a:pt x="1309" y="716"/>
                </a:lnTo>
                <a:lnTo>
                  <a:pt x="1309" y="752"/>
                </a:lnTo>
                <a:lnTo>
                  <a:pt x="1309" y="771"/>
                </a:lnTo>
                <a:lnTo>
                  <a:pt x="1309" y="788"/>
                </a:lnTo>
                <a:lnTo>
                  <a:pt x="1309" y="806"/>
                </a:lnTo>
                <a:lnTo>
                  <a:pt x="1309" y="825"/>
                </a:lnTo>
                <a:lnTo>
                  <a:pt x="1309" y="842"/>
                </a:lnTo>
                <a:lnTo>
                  <a:pt x="1288" y="842"/>
                </a:lnTo>
                <a:lnTo>
                  <a:pt x="1288" y="860"/>
                </a:lnTo>
                <a:lnTo>
                  <a:pt x="1288" y="879"/>
                </a:lnTo>
                <a:lnTo>
                  <a:pt x="1269" y="915"/>
                </a:lnTo>
                <a:lnTo>
                  <a:pt x="1248" y="932"/>
                </a:lnTo>
                <a:lnTo>
                  <a:pt x="1248" y="950"/>
                </a:lnTo>
                <a:lnTo>
                  <a:pt x="1248" y="969"/>
                </a:lnTo>
                <a:lnTo>
                  <a:pt x="1229" y="969"/>
                </a:lnTo>
                <a:lnTo>
                  <a:pt x="1208" y="986"/>
                </a:lnTo>
                <a:lnTo>
                  <a:pt x="1187" y="986"/>
                </a:lnTo>
                <a:lnTo>
                  <a:pt x="1146" y="986"/>
                </a:lnTo>
                <a:lnTo>
                  <a:pt x="1127" y="986"/>
                </a:lnTo>
                <a:lnTo>
                  <a:pt x="1127" y="1003"/>
                </a:lnTo>
                <a:lnTo>
                  <a:pt x="1106" y="1021"/>
                </a:lnTo>
                <a:lnTo>
                  <a:pt x="1066" y="1021"/>
                </a:lnTo>
                <a:lnTo>
                  <a:pt x="1046" y="1038"/>
                </a:lnTo>
                <a:lnTo>
                  <a:pt x="1027" y="1055"/>
                </a:lnTo>
                <a:lnTo>
                  <a:pt x="1006" y="1074"/>
                </a:lnTo>
                <a:lnTo>
                  <a:pt x="1006" y="1092"/>
                </a:lnTo>
                <a:lnTo>
                  <a:pt x="1006" y="1111"/>
                </a:lnTo>
                <a:lnTo>
                  <a:pt x="1006" y="1145"/>
                </a:lnTo>
                <a:lnTo>
                  <a:pt x="987" y="1165"/>
                </a:lnTo>
                <a:lnTo>
                  <a:pt x="966" y="1199"/>
                </a:lnTo>
                <a:lnTo>
                  <a:pt x="966" y="1218"/>
                </a:lnTo>
                <a:lnTo>
                  <a:pt x="947" y="1218"/>
                </a:lnTo>
                <a:lnTo>
                  <a:pt x="926" y="1255"/>
                </a:lnTo>
                <a:lnTo>
                  <a:pt x="906" y="1272"/>
                </a:lnTo>
                <a:lnTo>
                  <a:pt x="887" y="1289"/>
                </a:lnTo>
                <a:lnTo>
                  <a:pt x="866" y="1309"/>
                </a:lnTo>
                <a:lnTo>
                  <a:pt x="847" y="1343"/>
                </a:lnTo>
                <a:lnTo>
                  <a:pt x="806" y="1362"/>
                </a:lnTo>
                <a:lnTo>
                  <a:pt x="785" y="1343"/>
                </a:lnTo>
                <a:lnTo>
                  <a:pt x="766" y="1343"/>
                </a:lnTo>
                <a:lnTo>
                  <a:pt x="745" y="1343"/>
                </a:lnTo>
                <a:lnTo>
                  <a:pt x="726" y="1343"/>
                </a:lnTo>
                <a:lnTo>
                  <a:pt x="745" y="1362"/>
                </a:lnTo>
                <a:lnTo>
                  <a:pt x="745" y="1378"/>
                </a:lnTo>
                <a:lnTo>
                  <a:pt x="766" y="1397"/>
                </a:lnTo>
                <a:lnTo>
                  <a:pt x="785" y="1397"/>
                </a:lnTo>
                <a:lnTo>
                  <a:pt x="785" y="1414"/>
                </a:lnTo>
                <a:lnTo>
                  <a:pt x="785" y="1431"/>
                </a:lnTo>
                <a:lnTo>
                  <a:pt x="766" y="1451"/>
                </a:lnTo>
                <a:lnTo>
                  <a:pt x="745" y="1468"/>
                </a:lnTo>
                <a:lnTo>
                  <a:pt x="726" y="1468"/>
                </a:lnTo>
                <a:lnTo>
                  <a:pt x="705" y="1468"/>
                </a:lnTo>
                <a:lnTo>
                  <a:pt x="664" y="1485"/>
                </a:lnTo>
                <a:lnTo>
                  <a:pt x="624" y="1485"/>
                </a:lnTo>
                <a:lnTo>
                  <a:pt x="603" y="1485"/>
                </a:lnTo>
                <a:lnTo>
                  <a:pt x="603" y="1504"/>
                </a:lnTo>
                <a:lnTo>
                  <a:pt x="603" y="1522"/>
                </a:lnTo>
                <a:lnTo>
                  <a:pt x="603" y="1541"/>
                </a:lnTo>
                <a:lnTo>
                  <a:pt x="603" y="1558"/>
                </a:lnTo>
                <a:lnTo>
                  <a:pt x="584" y="1558"/>
                </a:lnTo>
                <a:lnTo>
                  <a:pt x="584" y="1575"/>
                </a:lnTo>
                <a:lnTo>
                  <a:pt x="565" y="1558"/>
                </a:lnTo>
                <a:lnTo>
                  <a:pt x="544" y="1558"/>
                </a:lnTo>
                <a:lnTo>
                  <a:pt x="524" y="1558"/>
                </a:lnTo>
                <a:lnTo>
                  <a:pt x="524" y="1575"/>
                </a:lnTo>
                <a:lnTo>
                  <a:pt x="524" y="1595"/>
                </a:lnTo>
                <a:lnTo>
                  <a:pt x="544" y="1595"/>
                </a:lnTo>
                <a:lnTo>
                  <a:pt x="565" y="1595"/>
                </a:lnTo>
                <a:lnTo>
                  <a:pt x="565" y="1612"/>
                </a:lnTo>
                <a:lnTo>
                  <a:pt x="544" y="1612"/>
                </a:lnTo>
                <a:lnTo>
                  <a:pt x="524" y="1612"/>
                </a:lnTo>
                <a:lnTo>
                  <a:pt x="524" y="1629"/>
                </a:lnTo>
                <a:lnTo>
                  <a:pt x="524" y="1666"/>
                </a:lnTo>
                <a:lnTo>
                  <a:pt x="524" y="1685"/>
                </a:lnTo>
                <a:lnTo>
                  <a:pt x="503" y="1702"/>
                </a:lnTo>
                <a:lnTo>
                  <a:pt x="484" y="1702"/>
                </a:lnTo>
                <a:lnTo>
                  <a:pt x="463" y="1702"/>
                </a:lnTo>
                <a:lnTo>
                  <a:pt x="463" y="1737"/>
                </a:lnTo>
                <a:lnTo>
                  <a:pt x="463" y="1754"/>
                </a:lnTo>
                <a:lnTo>
                  <a:pt x="484" y="1754"/>
                </a:lnTo>
                <a:lnTo>
                  <a:pt x="503" y="1790"/>
                </a:lnTo>
                <a:lnTo>
                  <a:pt x="484" y="1808"/>
                </a:lnTo>
                <a:lnTo>
                  <a:pt x="463" y="1808"/>
                </a:lnTo>
                <a:lnTo>
                  <a:pt x="463" y="1827"/>
                </a:lnTo>
                <a:lnTo>
                  <a:pt x="444" y="1827"/>
                </a:lnTo>
                <a:lnTo>
                  <a:pt x="444" y="1844"/>
                </a:lnTo>
                <a:lnTo>
                  <a:pt x="444" y="1861"/>
                </a:lnTo>
                <a:lnTo>
                  <a:pt x="424" y="1861"/>
                </a:lnTo>
                <a:lnTo>
                  <a:pt x="403" y="1861"/>
                </a:lnTo>
                <a:lnTo>
                  <a:pt x="403" y="1881"/>
                </a:lnTo>
                <a:lnTo>
                  <a:pt x="403" y="1915"/>
                </a:lnTo>
                <a:lnTo>
                  <a:pt x="424" y="1952"/>
                </a:lnTo>
                <a:lnTo>
                  <a:pt x="424" y="1971"/>
                </a:lnTo>
                <a:lnTo>
                  <a:pt x="444" y="1988"/>
                </a:lnTo>
                <a:lnTo>
                  <a:pt x="463" y="2005"/>
                </a:lnTo>
                <a:lnTo>
                  <a:pt x="484" y="2025"/>
                </a:lnTo>
                <a:lnTo>
                  <a:pt x="524" y="2042"/>
                </a:lnTo>
                <a:lnTo>
                  <a:pt x="503" y="2042"/>
                </a:lnTo>
                <a:lnTo>
                  <a:pt x="484" y="2042"/>
                </a:lnTo>
                <a:lnTo>
                  <a:pt x="463" y="2042"/>
                </a:lnTo>
                <a:lnTo>
                  <a:pt x="463" y="2059"/>
                </a:lnTo>
                <a:lnTo>
                  <a:pt x="444" y="2059"/>
                </a:lnTo>
                <a:lnTo>
                  <a:pt x="424" y="2059"/>
                </a:lnTo>
                <a:lnTo>
                  <a:pt x="403" y="2059"/>
                </a:lnTo>
                <a:lnTo>
                  <a:pt x="384" y="2059"/>
                </a:lnTo>
                <a:lnTo>
                  <a:pt x="384" y="2042"/>
                </a:lnTo>
                <a:lnTo>
                  <a:pt x="363" y="2042"/>
                </a:lnTo>
                <a:lnTo>
                  <a:pt x="344" y="2025"/>
                </a:lnTo>
                <a:lnTo>
                  <a:pt x="323" y="2025"/>
                </a:lnTo>
                <a:lnTo>
                  <a:pt x="323" y="2005"/>
                </a:lnTo>
                <a:lnTo>
                  <a:pt x="304" y="2005"/>
                </a:lnTo>
                <a:lnTo>
                  <a:pt x="284" y="2005"/>
                </a:lnTo>
                <a:lnTo>
                  <a:pt x="284" y="1988"/>
                </a:lnTo>
                <a:lnTo>
                  <a:pt x="263" y="1988"/>
                </a:lnTo>
                <a:lnTo>
                  <a:pt x="263" y="1971"/>
                </a:lnTo>
                <a:lnTo>
                  <a:pt x="244" y="1971"/>
                </a:lnTo>
                <a:lnTo>
                  <a:pt x="221" y="1971"/>
                </a:lnTo>
                <a:lnTo>
                  <a:pt x="244" y="1952"/>
                </a:lnTo>
                <a:lnTo>
                  <a:pt x="263" y="1934"/>
                </a:lnTo>
                <a:lnTo>
                  <a:pt x="244" y="1934"/>
                </a:lnTo>
                <a:lnTo>
                  <a:pt x="244" y="1915"/>
                </a:lnTo>
                <a:lnTo>
                  <a:pt x="221" y="1898"/>
                </a:lnTo>
                <a:lnTo>
                  <a:pt x="221" y="1881"/>
                </a:lnTo>
                <a:lnTo>
                  <a:pt x="221" y="1861"/>
                </a:lnTo>
                <a:lnTo>
                  <a:pt x="202" y="1844"/>
                </a:lnTo>
                <a:lnTo>
                  <a:pt x="202" y="1827"/>
                </a:lnTo>
                <a:lnTo>
                  <a:pt x="202" y="1808"/>
                </a:lnTo>
                <a:lnTo>
                  <a:pt x="221" y="1790"/>
                </a:lnTo>
                <a:lnTo>
                  <a:pt x="221" y="1771"/>
                </a:lnTo>
                <a:lnTo>
                  <a:pt x="221" y="1754"/>
                </a:lnTo>
                <a:lnTo>
                  <a:pt x="202" y="1754"/>
                </a:lnTo>
                <a:lnTo>
                  <a:pt x="202" y="1737"/>
                </a:lnTo>
                <a:lnTo>
                  <a:pt x="202" y="1717"/>
                </a:lnTo>
                <a:lnTo>
                  <a:pt x="221" y="1717"/>
                </a:lnTo>
                <a:lnTo>
                  <a:pt x="244" y="1717"/>
                </a:lnTo>
                <a:lnTo>
                  <a:pt x="244" y="1737"/>
                </a:lnTo>
                <a:lnTo>
                  <a:pt x="263" y="1737"/>
                </a:lnTo>
                <a:lnTo>
                  <a:pt x="263" y="1702"/>
                </a:lnTo>
                <a:lnTo>
                  <a:pt x="263" y="1629"/>
                </a:lnTo>
                <a:lnTo>
                  <a:pt x="284" y="1595"/>
                </a:lnTo>
                <a:lnTo>
                  <a:pt x="284" y="1575"/>
                </a:lnTo>
                <a:lnTo>
                  <a:pt x="263" y="1575"/>
                </a:lnTo>
                <a:lnTo>
                  <a:pt x="244" y="1575"/>
                </a:lnTo>
                <a:lnTo>
                  <a:pt x="244" y="1558"/>
                </a:lnTo>
                <a:lnTo>
                  <a:pt x="244" y="1541"/>
                </a:lnTo>
                <a:lnTo>
                  <a:pt x="263" y="1522"/>
                </a:lnTo>
                <a:lnTo>
                  <a:pt x="263" y="1504"/>
                </a:lnTo>
                <a:lnTo>
                  <a:pt x="263" y="1485"/>
                </a:lnTo>
                <a:lnTo>
                  <a:pt x="263" y="1468"/>
                </a:lnTo>
                <a:lnTo>
                  <a:pt x="263" y="1431"/>
                </a:lnTo>
                <a:lnTo>
                  <a:pt x="263" y="1414"/>
                </a:lnTo>
                <a:lnTo>
                  <a:pt x="284" y="1397"/>
                </a:lnTo>
                <a:lnTo>
                  <a:pt x="284" y="1378"/>
                </a:lnTo>
                <a:lnTo>
                  <a:pt x="304" y="1378"/>
                </a:lnTo>
                <a:lnTo>
                  <a:pt x="304" y="1362"/>
                </a:lnTo>
                <a:lnTo>
                  <a:pt x="304" y="1343"/>
                </a:lnTo>
                <a:lnTo>
                  <a:pt x="323" y="1326"/>
                </a:lnTo>
                <a:lnTo>
                  <a:pt x="323" y="1309"/>
                </a:lnTo>
                <a:lnTo>
                  <a:pt x="323" y="1289"/>
                </a:lnTo>
                <a:lnTo>
                  <a:pt x="323" y="1255"/>
                </a:lnTo>
                <a:lnTo>
                  <a:pt x="323" y="1236"/>
                </a:lnTo>
                <a:lnTo>
                  <a:pt x="323" y="1218"/>
                </a:lnTo>
                <a:lnTo>
                  <a:pt x="323" y="1199"/>
                </a:lnTo>
                <a:lnTo>
                  <a:pt x="323" y="1182"/>
                </a:lnTo>
                <a:lnTo>
                  <a:pt x="323" y="1165"/>
                </a:lnTo>
                <a:lnTo>
                  <a:pt x="323" y="1111"/>
                </a:lnTo>
                <a:lnTo>
                  <a:pt x="344" y="1092"/>
                </a:lnTo>
                <a:lnTo>
                  <a:pt x="344" y="1074"/>
                </a:lnTo>
                <a:lnTo>
                  <a:pt x="344" y="1055"/>
                </a:lnTo>
                <a:lnTo>
                  <a:pt x="344" y="1038"/>
                </a:lnTo>
                <a:lnTo>
                  <a:pt x="344" y="1021"/>
                </a:lnTo>
                <a:lnTo>
                  <a:pt x="344" y="1003"/>
                </a:lnTo>
                <a:lnTo>
                  <a:pt x="344" y="986"/>
                </a:lnTo>
                <a:lnTo>
                  <a:pt x="363" y="969"/>
                </a:lnTo>
                <a:lnTo>
                  <a:pt x="363" y="950"/>
                </a:lnTo>
                <a:lnTo>
                  <a:pt x="363" y="932"/>
                </a:lnTo>
                <a:lnTo>
                  <a:pt x="363" y="896"/>
                </a:lnTo>
                <a:lnTo>
                  <a:pt x="344" y="860"/>
                </a:lnTo>
                <a:lnTo>
                  <a:pt x="323" y="842"/>
                </a:lnTo>
                <a:lnTo>
                  <a:pt x="304" y="825"/>
                </a:lnTo>
                <a:lnTo>
                  <a:pt x="284" y="825"/>
                </a:lnTo>
                <a:lnTo>
                  <a:pt x="284" y="806"/>
                </a:lnTo>
                <a:lnTo>
                  <a:pt x="263" y="806"/>
                </a:lnTo>
                <a:lnTo>
                  <a:pt x="244" y="806"/>
                </a:lnTo>
                <a:lnTo>
                  <a:pt x="221" y="788"/>
                </a:lnTo>
                <a:lnTo>
                  <a:pt x="202" y="788"/>
                </a:lnTo>
                <a:lnTo>
                  <a:pt x="181" y="771"/>
                </a:lnTo>
                <a:lnTo>
                  <a:pt x="161" y="752"/>
                </a:lnTo>
                <a:lnTo>
                  <a:pt x="161" y="735"/>
                </a:lnTo>
                <a:lnTo>
                  <a:pt x="161" y="716"/>
                </a:lnTo>
                <a:lnTo>
                  <a:pt x="161" y="698"/>
                </a:lnTo>
                <a:lnTo>
                  <a:pt x="140" y="698"/>
                </a:lnTo>
                <a:lnTo>
                  <a:pt x="140" y="662"/>
                </a:lnTo>
                <a:lnTo>
                  <a:pt x="121" y="646"/>
                </a:lnTo>
                <a:lnTo>
                  <a:pt x="102" y="629"/>
                </a:lnTo>
                <a:lnTo>
                  <a:pt x="102" y="610"/>
                </a:lnTo>
                <a:lnTo>
                  <a:pt x="81" y="574"/>
                </a:lnTo>
                <a:lnTo>
                  <a:pt x="62" y="574"/>
                </a:lnTo>
                <a:lnTo>
                  <a:pt x="62" y="556"/>
                </a:lnTo>
                <a:lnTo>
                  <a:pt x="62" y="539"/>
                </a:lnTo>
                <a:lnTo>
                  <a:pt x="41" y="520"/>
                </a:lnTo>
                <a:lnTo>
                  <a:pt x="21" y="520"/>
                </a:lnTo>
                <a:lnTo>
                  <a:pt x="0" y="503"/>
                </a:lnTo>
                <a:lnTo>
                  <a:pt x="0" y="485"/>
                </a:lnTo>
                <a:lnTo>
                  <a:pt x="0" y="466"/>
                </a:lnTo>
                <a:lnTo>
                  <a:pt x="0" y="449"/>
                </a:lnTo>
                <a:lnTo>
                  <a:pt x="21" y="449"/>
                </a:lnTo>
                <a:lnTo>
                  <a:pt x="41" y="449"/>
                </a:lnTo>
                <a:lnTo>
                  <a:pt x="41" y="430"/>
                </a:lnTo>
                <a:lnTo>
                  <a:pt x="62" y="412"/>
                </a:lnTo>
                <a:lnTo>
                  <a:pt x="41" y="412"/>
                </a:lnTo>
                <a:lnTo>
                  <a:pt x="21" y="412"/>
                </a:lnTo>
                <a:lnTo>
                  <a:pt x="21" y="395"/>
                </a:lnTo>
                <a:lnTo>
                  <a:pt x="21" y="359"/>
                </a:lnTo>
                <a:lnTo>
                  <a:pt x="41" y="341"/>
                </a:lnTo>
                <a:lnTo>
                  <a:pt x="41" y="322"/>
                </a:lnTo>
                <a:lnTo>
                  <a:pt x="62" y="322"/>
                </a:lnTo>
                <a:lnTo>
                  <a:pt x="81" y="288"/>
                </a:lnTo>
                <a:lnTo>
                  <a:pt x="81" y="270"/>
                </a:lnTo>
                <a:lnTo>
                  <a:pt x="102" y="270"/>
                </a:lnTo>
                <a:lnTo>
                  <a:pt x="121" y="253"/>
                </a:lnTo>
                <a:lnTo>
                  <a:pt x="140" y="234"/>
                </a:lnTo>
                <a:lnTo>
                  <a:pt x="140" y="2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4" name="Freeform 108"/>
          <p:cNvSpPr>
            <a:spLocks/>
          </p:cNvSpPr>
          <p:nvPr/>
        </p:nvSpPr>
        <p:spPr bwMode="gray">
          <a:xfrm>
            <a:off x="1482725" y="3106738"/>
            <a:ext cx="1265238" cy="565150"/>
          </a:xfrm>
          <a:custGeom>
            <a:avLst/>
            <a:gdLst>
              <a:gd name="T0" fmla="*/ 2147483647 w 1810"/>
              <a:gd name="T1" fmla="*/ 2147483647 h 785"/>
              <a:gd name="T2" fmla="*/ 2147483647 w 1810"/>
              <a:gd name="T3" fmla="*/ 2147483647 h 785"/>
              <a:gd name="T4" fmla="*/ 2147483647 w 1810"/>
              <a:gd name="T5" fmla="*/ 2147483647 h 785"/>
              <a:gd name="T6" fmla="*/ 2147483647 w 1810"/>
              <a:gd name="T7" fmla="*/ 2147483647 h 785"/>
              <a:gd name="T8" fmla="*/ 2147483647 w 1810"/>
              <a:gd name="T9" fmla="*/ 2147483647 h 785"/>
              <a:gd name="T10" fmla="*/ 2147483647 w 1810"/>
              <a:gd name="T11" fmla="*/ 2147483647 h 785"/>
              <a:gd name="T12" fmla="*/ 2147483647 w 1810"/>
              <a:gd name="T13" fmla="*/ 2147483647 h 785"/>
              <a:gd name="T14" fmla="*/ 2147483647 w 1810"/>
              <a:gd name="T15" fmla="*/ 2147483647 h 785"/>
              <a:gd name="T16" fmla="*/ 2147483647 w 1810"/>
              <a:gd name="T17" fmla="*/ 2147483647 h 785"/>
              <a:gd name="T18" fmla="*/ 2147483647 w 1810"/>
              <a:gd name="T19" fmla="*/ 2147483647 h 785"/>
              <a:gd name="T20" fmla="*/ 2147483647 w 1810"/>
              <a:gd name="T21" fmla="*/ 2147483647 h 785"/>
              <a:gd name="T22" fmla="*/ 2147483647 w 1810"/>
              <a:gd name="T23" fmla="*/ 2147483647 h 785"/>
              <a:gd name="T24" fmla="*/ 2147483647 w 1810"/>
              <a:gd name="T25" fmla="*/ 2147483647 h 785"/>
              <a:gd name="T26" fmla="*/ 2147483647 w 1810"/>
              <a:gd name="T27" fmla="*/ 2147483647 h 785"/>
              <a:gd name="T28" fmla="*/ 2147483647 w 1810"/>
              <a:gd name="T29" fmla="*/ 2147483647 h 785"/>
              <a:gd name="T30" fmla="*/ 2147483647 w 1810"/>
              <a:gd name="T31" fmla="*/ 2147483647 h 785"/>
              <a:gd name="T32" fmla="*/ 2147483647 w 1810"/>
              <a:gd name="T33" fmla="*/ 2147483647 h 785"/>
              <a:gd name="T34" fmla="*/ 2147483647 w 1810"/>
              <a:gd name="T35" fmla="*/ 2147483647 h 785"/>
              <a:gd name="T36" fmla="*/ 2147483647 w 1810"/>
              <a:gd name="T37" fmla="*/ 2147483647 h 785"/>
              <a:gd name="T38" fmla="*/ 0 w 1810"/>
              <a:gd name="T39" fmla="*/ 2147483647 h 785"/>
              <a:gd name="T40" fmla="*/ 0 w 1810"/>
              <a:gd name="T41" fmla="*/ 2147483647 h 785"/>
              <a:gd name="T42" fmla="*/ 2147483647 w 1810"/>
              <a:gd name="T43" fmla="*/ 2147483647 h 785"/>
              <a:gd name="T44" fmla="*/ 2147483647 w 1810"/>
              <a:gd name="T45" fmla="*/ 2147483647 h 785"/>
              <a:gd name="T46" fmla="*/ 2147483647 w 1810"/>
              <a:gd name="T47" fmla="*/ 2147483647 h 785"/>
              <a:gd name="T48" fmla="*/ 2147483647 w 1810"/>
              <a:gd name="T49" fmla="*/ 2147483647 h 785"/>
              <a:gd name="T50" fmla="*/ 2147483647 w 1810"/>
              <a:gd name="T51" fmla="*/ 2147483647 h 785"/>
              <a:gd name="T52" fmla="*/ 2147483647 w 1810"/>
              <a:gd name="T53" fmla="*/ 2147483647 h 785"/>
              <a:gd name="T54" fmla="*/ 2147483647 w 1810"/>
              <a:gd name="T55" fmla="*/ 2147483647 h 785"/>
              <a:gd name="T56" fmla="*/ 2147483647 w 1810"/>
              <a:gd name="T57" fmla="*/ 2147483647 h 785"/>
              <a:gd name="T58" fmla="*/ 2147483647 w 1810"/>
              <a:gd name="T59" fmla="*/ 2147483647 h 785"/>
              <a:gd name="T60" fmla="*/ 2147483647 w 1810"/>
              <a:gd name="T61" fmla="*/ 2147483647 h 785"/>
              <a:gd name="T62" fmla="*/ 2147483647 w 1810"/>
              <a:gd name="T63" fmla="*/ 2147483647 h 785"/>
              <a:gd name="T64" fmla="*/ 2147483647 w 1810"/>
              <a:gd name="T65" fmla="*/ 2147483647 h 785"/>
              <a:gd name="T66" fmla="*/ 2147483647 w 1810"/>
              <a:gd name="T67" fmla="*/ 2147483647 h 785"/>
              <a:gd name="T68" fmla="*/ 2147483647 w 1810"/>
              <a:gd name="T69" fmla="*/ 2147483647 h 785"/>
              <a:gd name="T70" fmla="*/ 2147483647 w 1810"/>
              <a:gd name="T71" fmla="*/ 2147483647 h 785"/>
              <a:gd name="T72" fmla="*/ 2147483647 w 1810"/>
              <a:gd name="T73" fmla="*/ 2147483647 h 785"/>
              <a:gd name="T74" fmla="*/ 2147483647 w 1810"/>
              <a:gd name="T75" fmla="*/ 2147483647 h 785"/>
              <a:gd name="T76" fmla="*/ 2147483647 w 1810"/>
              <a:gd name="T77" fmla="*/ 2147483647 h 785"/>
              <a:gd name="T78" fmla="*/ 2147483647 w 1810"/>
              <a:gd name="T79" fmla="*/ 2147483647 h 785"/>
              <a:gd name="T80" fmla="*/ 2147483647 w 1810"/>
              <a:gd name="T81" fmla="*/ 2147483647 h 785"/>
              <a:gd name="T82" fmla="*/ 2147483647 w 1810"/>
              <a:gd name="T83" fmla="*/ 2147483647 h 785"/>
              <a:gd name="T84" fmla="*/ 2147483647 w 1810"/>
              <a:gd name="T85" fmla="*/ 2147483647 h 785"/>
              <a:gd name="T86" fmla="*/ 2147483647 w 1810"/>
              <a:gd name="T87" fmla="*/ 2147483647 h 785"/>
              <a:gd name="T88" fmla="*/ 2147483647 w 1810"/>
              <a:gd name="T89" fmla="*/ 2147483647 h 785"/>
              <a:gd name="T90" fmla="*/ 2147483647 w 1810"/>
              <a:gd name="T91" fmla="*/ 2147483647 h 785"/>
              <a:gd name="T92" fmla="*/ 2147483647 w 1810"/>
              <a:gd name="T93" fmla="*/ 2147483647 h 785"/>
              <a:gd name="T94" fmla="*/ 2147483647 w 1810"/>
              <a:gd name="T95" fmla="*/ 2147483647 h 785"/>
              <a:gd name="T96" fmla="*/ 2147483647 w 1810"/>
              <a:gd name="T97" fmla="*/ 2147483647 h 785"/>
              <a:gd name="T98" fmla="*/ 2147483647 w 1810"/>
              <a:gd name="T99" fmla="*/ 2147483647 h 785"/>
              <a:gd name="T100" fmla="*/ 2147483647 w 1810"/>
              <a:gd name="T101" fmla="*/ 2147483647 h 785"/>
              <a:gd name="T102" fmla="*/ 2147483647 w 1810"/>
              <a:gd name="T103" fmla="*/ 2147483647 h 785"/>
              <a:gd name="T104" fmla="*/ 2147483647 w 1810"/>
              <a:gd name="T105" fmla="*/ 2147483647 h 785"/>
              <a:gd name="T106" fmla="*/ 2147483647 w 1810"/>
              <a:gd name="T107" fmla="*/ 2147483647 h 785"/>
              <a:gd name="T108" fmla="*/ 2147483647 w 1810"/>
              <a:gd name="T109" fmla="*/ 2147483647 h 785"/>
              <a:gd name="T110" fmla="*/ 2147483647 w 1810"/>
              <a:gd name="T111" fmla="*/ 2147483647 h 785"/>
              <a:gd name="T112" fmla="*/ 2147483647 w 1810"/>
              <a:gd name="T113" fmla="*/ 2147483647 h 785"/>
              <a:gd name="T114" fmla="*/ 2147483647 w 1810"/>
              <a:gd name="T115" fmla="*/ 2147483647 h 785"/>
              <a:gd name="T116" fmla="*/ 2147483647 w 1810"/>
              <a:gd name="T117" fmla="*/ 2147483647 h 785"/>
              <a:gd name="T118" fmla="*/ 2147483647 w 1810"/>
              <a:gd name="T119" fmla="*/ 2147483647 h 785"/>
              <a:gd name="T120" fmla="*/ 2147483647 w 1810"/>
              <a:gd name="T121" fmla="*/ 2147483647 h 78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10"/>
              <a:gd name="T184" fmla="*/ 0 h 785"/>
              <a:gd name="T185" fmla="*/ 1810 w 1810"/>
              <a:gd name="T186" fmla="*/ 785 h 78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10" h="785">
                <a:moveTo>
                  <a:pt x="1468" y="516"/>
                </a:moveTo>
                <a:lnTo>
                  <a:pt x="1409" y="552"/>
                </a:lnTo>
                <a:lnTo>
                  <a:pt x="1368" y="572"/>
                </a:lnTo>
                <a:lnTo>
                  <a:pt x="1347" y="625"/>
                </a:lnTo>
                <a:lnTo>
                  <a:pt x="1347" y="660"/>
                </a:lnTo>
                <a:lnTo>
                  <a:pt x="1368" y="679"/>
                </a:lnTo>
                <a:lnTo>
                  <a:pt x="1368" y="716"/>
                </a:lnTo>
                <a:lnTo>
                  <a:pt x="1368" y="696"/>
                </a:lnTo>
                <a:lnTo>
                  <a:pt x="1368" y="716"/>
                </a:lnTo>
                <a:lnTo>
                  <a:pt x="1387" y="733"/>
                </a:lnTo>
                <a:lnTo>
                  <a:pt x="1387" y="748"/>
                </a:lnTo>
                <a:lnTo>
                  <a:pt x="1387" y="767"/>
                </a:lnTo>
                <a:lnTo>
                  <a:pt x="1387" y="785"/>
                </a:lnTo>
                <a:lnTo>
                  <a:pt x="1368" y="785"/>
                </a:lnTo>
                <a:lnTo>
                  <a:pt x="1347" y="785"/>
                </a:lnTo>
                <a:lnTo>
                  <a:pt x="1347" y="767"/>
                </a:lnTo>
                <a:lnTo>
                  <a:pt x="1328" y="748"/>
                </a:lnTo>
                <a:lnTo>
                  <a:pt x="1328" y="733"/>
                </a:lnTo>
                <a:lnTo>
                  <a:pt x="1307" y="733"/>
                </a:lnTo>
                <a:lnTo>
                  <a:pt x="1288" y="679"/>
                </a:lnTo>
                <a:lnTo>
                  <a:pt x="1288" y="660"/>
                </a:lnTo>
                <a:lnTo>
                  <a:pt x="1268" y="643"/>
                </a:lnTo>
                <a:lnTo>
                  <a:pt x="1247" y="643"/>
                </a:lnTo>
                <a:lnTo>
                  <a:pt x="1228" y="643"/>
                </a:lnTo>
                <a:lnTo>
                  <a:pt x="1207" y="643"/>
                </a:lnTo>
                <a:lnTo>
                  <a:pt x="1207" y="625"/>
                </a:lnTo>
                <a:lnTo>
                  <a:pt x="1167" y="625"/>
                </a:lnTo>
                <a:lnTo>
                  <a:pt x="1148" y="625"/>
                </a:lnTo>
                <a:lnTo>
                  <a:pt x="1128" y="625"/>
                </a:lnTo>
                <a:lnTo>
                  <a:pt x="1086" y="625"/>
                </a:lnTo>
                <a:lnTo>
                  <a:pt x="1086" y="643"/>
                </a:lnTo>
                <a:lnTo>
                  <a:pt x="1086" y="625"/>
                </a:lnTo>
                <a:lnTo>
                  <a:pt x="1086" y="643"/>
                </a:lnTo>
                <a:lnTo>
                  <a:pt x="1086" y="660"/>
                </a:lnTo>
                <a:lnTo>
                  <a:pt x="1065" y="660"/>
                </a:lnTo>
                <a:lnTo>
                  <a:pt x="1046" y="660"/>
                </a:lnTo>
                <a:lnTo>
                  <a:pt x="1005" y="643"/>
                </a:lnTo>
                <a:lnTo>
                  <a:pt x="1005" y="660"/>
                </a:lnTo>
                <a:lnTo>
                  <a:pt x="984" y="643"/>
                </a:lnTo>
                <a:lnTo>
                  <a:pt x="965" y="643"/>
                </a:lnTo>
                <a:lnTo>
                  <a:pt x="946" y="660"/>
                </a:lnTo>
                <a:lnTo>
                  <a:pt x="925" y="660"/>
                </a:lnTo>
                <a:lnTo>
                  <a:pt x="906" y="679"/>
                </a:lnTo>
                <a:lnTo>
                  <a:pt x="885" y="679"/>
                </a:lnTo>
                <a:lnTo>
                  <a:pt x="865" y="696"/>
                </a:lnTo>
                <a:lnTo>
                  <a:pt x="844" y="733"/>
                </a:lnTo>
                <a:lnTo>
                  <a:pt x="844" y="748"/>
                </a:lnTo>
                <a:lnTo>
                  <a:pt x="825" y="748"/>
                </a:lnTo>
                <a:lnTo>
                  <a:pt x="806" y="748"/>
                </a:lnTo>
                <a:lnTo>
                  <a:pt x="806" y="733"/>
                </a:lnTo>
                <a:lnTo>
                  <a:pt x="766" y="696"/>
                </a:lnTo>
                <a:lnTo>
                  <a:pt x="744" y="660"/>
                </a:lnTo>
                <a:lnTo>
                  <a:pt x="685" y="643"/>
                </a:lnTo>
                <a:lnTo>
                  <a:pt x="685" y="660"/>
                </a:lnTo>
                <a:lnTo>
                  <a:pt x="666" y="660"/>
                </a:lnTo>
                <a:lnTo>
                  <a:pt x="645" y="660"/>
                </a:lnTo>
                <a:lnTo>
                  <a:pt x="602" y="643"/>
                </a:lnTo>
                <a:lnTo>
                  <a:pt x="602" y="606"/>
                </a:lnTo>
                <a:lnTo>
                  <a:pt x="583" y="606"/>
                </a:lnTo>
                <a:lnTo>
                  <a:pt x="562" y="589"/>
                </a:lnTo>
                <a:lnTo>
                  <a:pt x="543" y="589"/>
                </a:lnTo>
                <a:lnTo>
                  <a:pt x="524" y="589"/>
                </a:lnTo>
                <a:lnTo>
                  <a:pt x="503" y="589"/>
                </a:lnTo>
                <a:lnTo>
                  <a:pt x="403" y="589"/>
                </a:lnTo>
                <a:lnTo>
                  <a:pt x="303" y="552"/>
                </a:lnTo>
                <a:lnTo>
                  <a:pt x="282" y="552"/>
                </a:lnTo>
                <a:lnTo>
                  <a:pt x="263" y="552"/>
                </a:lnTo>
                <a:lnTo>
                  <a:pt x="222" y="552"/>
                </a:lnTo>
                <a:lnTo>
                  <a:pt x="203" y="535"/>
                </a:lnTo>
                <a:lnTo>
                  <a:pt x="163" y="499"/>
                </a:lnTo>
                <a:lnTo>
                  <a:pt x="120" y="481"/>
                </a:lnTo>
                <a:lnTo>
                  <a:pt x="80" y="445"/>
                </a:lnTo>
                <a:lnTo>
                  <a:pt x="80" y="428"/>
                </a:lnTo>
                <a:lnTo>
                  <a:pt x="80" y="391"/>
                </a:lnTo>
                <a:lnTo>
                  <a:pt x="40" y="374"/>
                </a:lnTo>
                <a:lnTo>
                  <a:pt x="21" y="339"/>
                </a:lnTo>
                <a:lnTo>
                  <a:pt x="0" y="303"/>
                </a:lnTo>
                <a:lnTo>
                  <a:pt x="0" y="266"/>
                </a:lnTo>
                <a:lnTo>
                  <a:pt x="0" y="249"/>
                </a:lnTo>
                <a:lnTo>
                  <a:pt x="0" y="213"/>
                </a:lnTo>
                <a:lnTo>
                  <a:pt x="0" y="176"/>
                </a:lnTo>
                <a:lnTo>
                  <a:pt x="0" y="123"/>
                </a:lnTo>
                <a:lnTo>
                  <a:pt x="21" y="105"/>
                </a:lnTo>
                <a:lnTo>
                  <a:pt x="0" y="86"/>
                </a:lnTo>
                <a:lnTo>
                  <a:pt x="0" y="69"/>
                </a:lnTo>
                <a:lnTo>
                  <a:pt x="0" y="52"/>
                </a:lnTo>
                <a:lnTo>
                  <a:pt x="21" y="52"/>
                </a:lnTo>
                <a:lnTo>
                  <a:pt x="40" y="52"/>
                </a:lnTo>
                <a:lnTo>
                  <a:pt x="40" y="69"/>
                </a:lnTo>
                <a:lnTo>
                  <a:pt x="61" y="52"/>
                </a:lnTo>
                <a:lnTo>
                  <a:pt x="61" y="34"/>
                </a:lnTo>
                <a:lnTo>
                  <a:pt x="61" y="17"/>
                </a:lnTo>
                <a:lnTo>
                  <a:pt x="40" y="17"/>
                </a:lnTo>
                <a:lnTo>
                  <a:pt x="61" y="17"/>
                </a:lnTo>
                <a:lnTo>
                  <a:pt x="80" y="17"/>
                </a:lnTo>
                <a:lnTo>
                  <a:pt x="120" y="17"/>
                </a:lnTo>
                <a:lnTo>
                  <a:pt x="142" y="17"/>
                </a:lnTo>
                <a:lnTo>
                  <a:pt x="203" y="17"/>
                </a:lnTo>
                <a:lnTo>
                  <a:pt x="282" y="17"/>
                </a:lnTo>
                <a:lnTo>
                  <a:pt x="343" y="17"/>
                </a:lnTo>
                <a:lnTo>
                  <a:pt x="403" y="17"/>
                </a:lnTo>
                <a:lnTo>
                  <a:pt x="483" y="17"/>
                </a:lnTo>
                <a:lnTo>
                  <a:pt x="543" y="17"/>
                </a:lnTo>
                <a:lnTo>
                  <a:pt x="625" y="17"/>
                </a:lnTo>
                <a:lnTo>
                  <a:pt x="685" y="17"/>
                </a:lnTo>
                <a:lnTo>
                  <a:pt x="744" y="17"/>
                </a:lnTo>
                <a:lnTo>
                  <a:pt x="806" y="17"/>
                </a:lnTo>
                <a:lnTo>
                  <a:pt x="865" y="17"/>
                </a:lnTo>
                <a:lnTo>
                  <a:pt x="885" y="17"/>
                </a:lnTo>
                <a:lnTo>
                  <a:pt x="925" y="17"/>
                </a:lnTo>
                <a:lnTo>
                  <a:pt x="925" y="0"/>
                </a:lnTo>
                <a:lnTo>
                  <a:pt x="946" y="17"/>
                </a:lnTo>
                <a:lnTo>
                  <a:pt x="965" y="17"/>
                </a:lnTo>
                <a:lnTo>
                  <a:pt x="984" y="17"/>
                </a:lnTo>
                <a:lnTo>
                  <a:pt x="1005" y="17"/>
                </a:lnTo>
                <a:lnTo>
                  <a:pt x="1025" y="34"/>
                </a:lnTo>
                <a:lnTo>
                  <a:pt x="1065" y="52"/>
                </a:lnTo>
                <a:lnTo>
                  <a:pt x="1086" y="52"/>
                </a:lnTo>
                <a:lnTo>
                  <a:pt x="1065" y="69"/>
                </a:lnTo>
                <a:lnTo>
                  <a:pt x="1025" y="69"/>
                </a:lnTo>
                <a:lnTo>
                  <a:pt x="1005" y="105"/>
                </a:lnTo>
                <a:lnTo>
                  <a:pt x="1025" y="105"/>
                </a:lnTo>
                <a:lnTo>
                  <a:pt x="1025" y="86"/>
                </a:lnTo>
                <a:lnTo>
                  <a:pt x="1046" y="86"/>
                </a:lnTo>
                <a:lnTo>
                  <a:pt x="1046" y="105"/>
                </a:lnTo>
                <a:lnTo>
                  <a:pt x="1065" y="105"/>
                </a:lnTo>
                <a:lnTo>
                  <a:pt x="1086" y="105"/>
                </a:lnTo>
                <a:lnTo>
                  <a:pt x="1086" y="86"/>
                </a:lnTo>
                <a:lnTo>
                  <a:pt x="1107" y="86"/>
                </a:lnTo>
                <a:lnTo>
                  <a:pt x="1128" y="69"/>
                </a:lnTo>
                <a:lnTo>
                  <a:pt x="1148" y="69"/>
                </a:lnTo>
                <a:lnTo>
                  <a:pt x="1148" y="86"/>
                </a:lnTo>
                <a:lnTo>
                  <a:pt x="1128" y="86"/>
                </a:lnTo>
                <a:lnTo>
                  <a:pt x="1148" y="86"/>
                </a:lnTo>
                <a:lnTo>
                  <a:pt x="1148" y="105"/>
                </a:lnTo>
                <a:lnTo>
                  <a:pt x="1167" y="105"/>
                </a:lnTo>
                <a:lnTo>
                  <a:pt x="1188" y="105"/>
                </a:lnTo>
                <a:lnTo>
                  <a:pt x="1188" y="86"/>
                </a:lnTo>
                <a:lnTo>
                  <a:pt x="1207" y="86"/>
                </a:lnTo>
                <a:lnTo>
                  <a:pt x="1207" y="105"/>
                </a:lnTo>
                <a:lnTo>
                  <a:pt x="1247" y="105"/>
                </a:lnTo>
                <a:lnTo>
                  <a:pt x="1268" y="105"/>
                </a:lnTo>
                <a:lnTo>
                  <a:pt x="1268" y="123"/>
                </a:lnTo>
                <a:lnTo>
                  <a:pt x="1247" y="123"/>
                </a:lnTo>
                <a:lnTo>
                  <a:pt x="1228" y="123"/>
                </a:lnTo>
                <a:lnTo>
                  <a:pt x="1207" y="123"/>
                </a:lnTo>
                <a:lnTo>
                  <a:pt x="1188" y="123"/>
                </a:lnTo>
                <a:lnTo>
                  <a:pt x="1148" y="142"/>
                </a:lnTo>
                <a:lnTo>
                  <a:pt x="1148" y="159"/>
                </a:lnTo>
                <a:lnTo>
                  <a:pt x="1167" y="142"/>
                </a:lnTo>
                <a:lnTo>
                  <a:pt x="1148" y="195"/>
                </a:lnTo>
                <a:lnTo>
                  <a:pt x="1148" y="213"/>
                </a:lnTo>
                <a:lnTo>
                  <a:pt x="1148" y="249"/>
                </a:lnTo>
                <a:lnTo>
                  <a:pt x="1148" y="266"/>
                </a:lnTo>
                <a:lnTo>
                  <a:pt x="1167" y="266"/>
                </a:lnTo>
                <a:lnTo>
                  <a:pt x="1188" y="249"/>
                </a:lnTo>
                <a:lnTo>
                  <a:pt x="1188" y="230"/>
                </a:lnTo>
                <a:lnTo>
                  <a:pt x="1188" y="213"/>
                </a:lnTo>
                <a:lnTo>
                  <a:pt x="1188" y="195"/>
                </a:lnTo>
                <a:lnTo>
                  <a:pt x="1188" y="176"/>
                </a:lnTo>
                <a:lnTo>
                  <a:pt x="1188" y="159"/>
                </a:lnTo>
                <a:lnTo>
                  <a:pt x="1207" y="142"/>
                </a:lnTo>
                <a:lnTo>
                  <a:pt x="1228" y="142"/>
                </a:lnTo>
                <a:lnTo>
                  <a:pt x="1228" y="123"/>
                </a:lnTo>
                <a:lnTo>
                  <a:pt x="1247" y="123"/>
                </a:lnTo>
                <a:lnTo>
                  <a:pt x="1268" y="123"/>
                </a:lnTo>
                <a:lnTo>
                  <a:pt x="1288" y="142"/>
                </a:lnTo>
                <a:lnTo>
                  <a:pt x="1288" y="159"/>
                </a:lnTo>
                <a:lnTo>
                  <a:pt x="1288" y="176"/>
                </a:lnTo>
                <a:lnTo>
                  <a:pt x="1288" y="195"/>
                </a:lnTo>
                <a:lnTo>
                  <a:pt x="1307" y="195"/>
                </a:lnTo>
                <a:lnTo>
                  <a:pt x="1307" y="213"/>
                </a:lnTo>
                <a:lnTo>
                  <a:pt x="1307" y="230"/>
                </a:lnTo>
                <a:lnTo>
                  <a:pt x="1288" y="249"/>
                </a:lnTo>
                <a:lnTo>
                  <a:pt x="1288" y="266"/>
                </a:lnTo>
                <a:lnTo>
                  <a:pt x="1307" y="266"/>
                </a:lnTo>
                <a:lnTo>
                  <a:pt x="1347" y="266"/>
                </a:lnTo>
                <a:lnTo>
                  <a:pt x="1368" y="249"/>
                </a:lnTo>
                <a:lnTo>
                  <a:pt x="1409" y="249"/>
                </a:lnTo>
                <a:lnTo>
                  <a:pt x="1409" y="230"/>
                </a:lnTo>
                <a:lnTo>
                  <a:pt x="1409" y="213"/>
                </a:lnTo>
                <a:lnTo>
                  <a:pt x="1447" y="213"/>
                </a:lnTo>
                <a:lnTo>
                  <a:pt x="1487" y="213"/>
                </a:lnTo>
                <a:lnTo>
                  <a:pt x="1508" y="195"/>
                </a:lnTo>
                <a:lnTo>
                  <a:pt x="1528" y="176"/>
                </a:lnTo>
                <a:lnTo>
                  <a:pt x="1549" y="159"/>
                </a:lnTo>
                <a:lnTo>
                  <a:pt x="1549" y="142"/>
                </a:lnTo>
                <a:lnTo>
                  <a:pt x="1568" y="142"/>
                </a:lnTo>
                <a:lnTo>
                  <a:pt x="1589" y="142"/>
                </a:lnTo>
                <a:lnTo>
                  <a:pt x="1610" y="142"/>
                </a:lnTo>
                <a:lnTo>
                  <a:pt x="1629" y="142"/>
                </a:lnTo>
                <a:lnTo>
                  <a:pt x="1650" y="142"/>
                </a:lnTo>
                <a:lnTo>
                  <a:pt x="1670" y="142"/>
                </a:lnTo>
                <a:lnTo>
                  <a:pt x="1670" y="123"/>
                </a:lnTo>
                <a:lnTo>
                  <a:pt x="1691" y="105"/>
                </a:lnTo>
                <a:lnTo>
                  <a:pt x="1710" y="86"/>
                </a:lnTo>
                <a:lnTo>
                  <a:pt x="1729" y="69"/>
                </a:lnTo>
                <a:lnTo>
                  <a:pt x="1750" y="69"/>
                </a:lnTo>
                <a:lnTo>
                  <a:pt x="1769" y="69"/>
                </a:lnTo>
                <a:lnTo>
                  <a:pt x="1791" y="105"/>
                </a:lnTo>
                <a:lnTo>
                  <a:pt x="1791" y="123"/>
                </a:lnTo>
                <a:lnTo>
                  <a:pt x="1810" y="159"/>
                </a:lnTo>
                <a:lnTo>
                  <a:pt x="1791" y="176"/>
                </a:lnTo>
                <a:lnTo>
                  <a:pt x="1769" y="176"/>
                </a:lnTo>
                <a:lnTo>
                  <a:pt x="1750" y="176"/>
                </a:lnTo>
                <a:lnTo>
                  <a:pt x="1710" y="195"/>
                </a:lnTo>
                <a:lnTo>
                  <a:pt x="1691" y="213"/>
                </a:lnTo>
                <a:lnTo>
                  <a:pt x="1670" y="249"/>
                </a:lnTo>
                <a:lnTo>
                  <a:pt x="1691" y="249"/>
                </a:lnTo>
                <a:lnTo>
                  <a:pt x="1691" y="266"/>
                </a:lnTo>
                <a:lnTo>
                  <a:pt x="1710" y="266"/>
                </a:lnTo>
                <a:lnTo>
                  <a:pt x="1710" y="249"/>
                </a:lnTo>
                <a:lnTo>
                  <a:pt x="1710" y="266"/>
                </a:lnTo>
                <a:lnTo>
                  <a:pt x="1691" y="266"/>
                </a:lnTo>
                <a:lnTo>
                  <a:pt x="1670" y="266"/>
                </a:lnTo>
                <a:lnTo>
                  <a:pt x="1650" y="286"/>
                </a:lnTo>
                <a:lnTo>
                  <a:pt x="1610" y="286"/>
                </a:lnTo>
                <a:lnTo>
                  <a:pt x="1589" y="303"/>
                </a:lnTo>
                <a:lnTo>
                  <a:pt x="1610" y="303"/>
                </a:lnTo>
                <a:lnTo>
                  <a:pt x="1610" y="286"/>
                </a:lnTo>
                <a:lnTo>
                  <a:pt x="1629" y="303"/>
                </a:lnTo>
                <a:lnTo>
                  <a:pt x="1610" y="303"/>
                </a:lnTo>
                <a:lnTo>
                  <a:pt x="1589" y="303"/>
                </a:lnTo>
                <a:lnTo>
                  <a:pt x="1568" y="303"/>
                </a:lnTo>
                <a:lnTo>
                  <a:pt x="1589" y="303"/>
                </a:lnTo>
                <a:lnTo>
                  <a:pt x="1568" y="320"/>
                </a:lnTo>
                <a:lnTo>
                  <a:pt x="1568" y="357"/>
                </a:lnTo>
                <a:lnTo>
                  <a:pt x="1549" y="357"/>
                </a:lnTo>
                <a:lnTo>
                  <a:pt x="1549" y="374"/>
                </a:lnTo>
                <a:lnTo>
                  <a:pt x="1549" y="408"/>
                </a:lnTo>
                <a:lnTo>
                  <a:pt x="1528" y="408"/>
                </a:lnTo>
                <a:lnTo>
                  <a:pt x="1528" y="391"/>
                </a:lnTo>
                <a:lnTo>
                  <a:pt x="1528" y="374"/>
                </a:lnTo>
                <a:lnTo>
                  <a:pt x="1508" y="374"/>
                </a:lnTo>
                <a:lnTo>
                  <a:pt x="1508" y="391"/>
                </a:lnTo>
                <a:lnTo>
                  <a:pt x="1508" y="408"/>
                </a:lnTo>
                <a:lnTo>
                  <a:pt x="1508" y="428"/>
                </a:lnTo>
                <a:lnTo>
                  <a:pt x="1528" y="428"/>
                </a:lnTo>
                <a:lnTo>
                  <a:pt x="1508" y="445"/>
                </a:lnTo>
                <a:lnTo>
                  <a:pt x="1528" y="445"/>
                </a:lnTo>
                <a:lnTo>
                  <a:pt x="1528" y="462"/>
                </a:lnTo>
                <a:lnTo>
                  <a:pt x="1508" y="462"/>
                </a:lnTo>
                <a:lnTo>
                  <a:pt x="1508" y="481"/>
                </a:lnTo>
                <a:lnTo>
                  <a:pt x="1487" y="481"/>
                </a:lnTo>
                <a:lnTo>
                  <a:pt x="1487" y="499"/>
                </a:lnTo>
                <a:lnTo>
                  <a:pt x="1468" y="499"/>
                </a:lnTo>
                <a:lnTo>
                  <a:pt x="1468" y="51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5" name="Freeform 109"/>
          <p:cNvSpPr>
            <a:spLocks/>
          </p:cNvSpPr>
          <p:nvPr/>
        </p:nvSpPr>
        <p:spPr bwMode="gray">
          <a:xfrm>
            <a:off x="1133475" y="2435225"/>
            <a:ext cx="1841500" cy="852488"/>
          </a:xfrm>
          <a:custGeom>
            <a:avLst/>
            <a:gdLst>
              <a:gd name="T0" fmla="*/ 2147483647 w 2633"/>
              <a:gd name="T1" fmla="*/ 2147483647 h 1182"/>
              <a:gd name="T2" fmla="*/ 2147483647 w 2633"/>
              <a:gd name="T3" fmla="*/ 2147483647 h 1182"/>
              <a:gd name="T4" fmla="*/ 2147483647 w 2633"/>
              <a:gd name="T5" fmla="*/ 2147483647 h 1182"/>
              <a:gd name="T6" fmla="*/ 2147483647 w 2633"/>
              <a:gd name="T7" fmla="*/ 2147483647 h 1182"/>
              <a:gd name="T8" fmla="*/ 2147483647 w 2633"/>
              <a:gd name="T9" fmla="*/ 2147483647 h 1182"/>
              <a:gd name="T10" fmla="*/ 2147483647 w 2633"/>
              <a:gd name="T11" fmla="*/ 2147483647 h 1182"/>
              <a:gd name="T12" fmla="*/ 2147483647 w 2633"/>
              <a:gd name="T13" fmla="*/ 2147483647 h 1182"/>
              <a:gd name="T14" fmla="*/ 2147483647 w 2633"/>
              <a:gd name="T15" fmla="*/ 2147483647 h 1182"/>
              <a:gd name="T16" fmla="*/ 2147483647 w 2633"/>
              <a:gd name="T17" fmla="*/ 2147483647 h 1182"/>
              <a:gd name="T18" fmla="*/ 2147483647 w 2633"/>
              <a:gd name="T19" fmla="*/ 2147483647 h 1182"/>
              <a:gd name="T20" fmla="*/ 2147483647 w 2633"/>
              <a:gd name="T21" fmla="*/ 2147483647 h 1182"/>
              <a:gd name="T22" fmla="*/ 2147483647 w 2633"/>
              <a:gd name="T23" fmla="*/ 2147483647 h 1182"/>
              <a:gd name="T24" fmla="*/ 2147483647 w 2633"/>
              <a:gd name="T25" fmla="*/ 2147483647 h 1182"/>
              <a:gd name="T26" fmla="*/ 2147483647 w 2633"/>
              <a:gd name="T27" fmla="*/ 2147483647 h 1182"/>
              <a:gd name="T28" fmla="*/ 2147483647 w 2633"/>
              <a:gd name="T29" fmla="*/ 2147483647 h 1182"/>
              <a:gd name="T30" fmla="*/ 2147483647 w 2633"/>
              <a:gd name="T31" fmla="*/ 2147483647 h 1182"/>
              <a:gd name="T32" fmla="*/ 2147483647 w 2633"/>
              <a:gd name="T33" fmla="*/ 2147483647 h 1182"/>
              <a:gd name="T34" fmla="*/ 2147483647 w 2633"/>
              <a:gd name="T35" fmla="*/ 2147483647 h 1182"/>
              <a:gd name="T36" fmla="*/ 2147483647 w 2633"/>
              <a:gd name="T37" fmla="*/ 2147483647 h 1182"/>
              <a:gd name="T38" fmla="*/ 2147483647 w 2633"/>
              <a:gd name="T39" fmla="*/ 2147483647 h 1182"/>
              <a:gd name="T40" fmla="*/ 2147483647 w 2633"/>
              <a:gd name="T41" fmla="*/ 2147483647 h 1182"/>
              <a:gd name="T42" fmla="*/ 2147483647 w 2633"/>
              <a:gd name="T43" fmla="*/ 2147483647 h 1182"/>
              <a:gd name="T44" fmla="*/ 2147483647 w 2633"/>
              <a:gd name="T45" fmla="*/ 2147483647 h 1182"/>
              <a:gd name="T46" fmla="*/ 2147483647 w 2633"/>
              <a:gd name="T47" fmla="*/ 2147483647 h 1182"/>
              <a:gd name="T48" fmla="*/ 2147483647 w 2633"/>
              <a:gd name="T49" fmla="*/ 2147483647 h 1182"/>
              <a:gd name="T50" fmla="*/ 2147483647 w 2633"/>
              <a:gd name="T51" fmla="*/ 2147483647 h 1182"/>
              <a:gd name="T52" fmla="*/ 2147483647 w 2633"/>
              <a:gd name="T53" fmla="*/ 2147483647 h 1182"/>
              <a:gd name="T54" fmla="*/ 2147483647 w 2633"/>
              <a:gd name="T55" fmla="*/ 2147483647 h 1182"/>
              <a:gd name="T56" fmla="*/ 2147483647 w 2633"/>
              <a:gd name="T57" fmla="*/ 2147483647 h 1182"/>
              <a:gd name="T58" fmla="*/ 2147483647 w 2633"/>
              <a:gd name="T59" fmla="*/ 2147483647 h 1182"/>
              <a:gd name="T60" fmla="*/ 2147483647 w 2633"/>
              <a:gd name="T61" fmla="*/ 0 h 1182"/>
              <a:gd name="T62" fmla="*/ 2147483647 w 2633"/>
              <a:gd name="T63" fmla="*/ 2147483647 h 1182"/>
              <a:gd name="T64" fmla="*/ 2147483647 w 2633"/>
              <a:gd name="T65" fmla="*/ 2147483647 h 1182"/>
              <a:gd name="T66" fmla="*/ 2147483647 w 2633"/>
              <a:gd name="T67" fmla="*/ 2147483647 h 1182"/>
              <a:gd name="T68" fmla="*/ 2147483647 w 2633"/>
              <a:gd name="T69" fmla="*/ 2147483647 h 1182"/>
              <a:gd name="T70" fmla="*/ 2147483647 w 2633"/>
              <a:gd name="T71" fmla="*/ 2147483647 h 1182"/>
              <a:gd name="T72" fmla="*/ 2147483647 w 2633"/>
              <a:gd name="T73" fmla="*/ 2147483647 h 1182"/>
              <a:gd name="T74" fmla="*/ 2147483647 w 2633"/>
              <a:gd name="T75" fmla="*/ 2147483647 h 1182"/>
              <a:gd name="T76" fmla="*/ 2147483647 w 2633"/>
              <a:gd name="T77" fmla="*/ 2147483647 h 1182"/>
              <a:gd name="T78" fmla="*/ 2147483647 w 2633"/>
              <a:gd name="T79" fmla="*/ 2147483647 h 1182"/>
              <a:gd name="T80" fmla="*/ 2147483647 w 2633"/>
              <a:gd name="T81" fmla="*/ 2147483647 h 1182"/>
              <a:gd name="T82" fmla="*/ 2147483647 w 2633"/>
              <a:gd name="T83" fmla="*/ 2147483647 h 1182"/>
              <a:gd name="T84" fmla="*/ 2147483647 w 2633"/>
              <a:gd name="T85" fmla="*/ 2147483647 h 1182"/>
              <a:gd name="T86" fmla="*/ 0 w 2633"/>
              <a:gd name="T87" fmla="*/ 2147483647 h 1182"/>
              <a:gd name="T88" fmla="*/ 2147483647 w 2633"/>
              <a:gd name="T89" fmla="*/ 2147483647 h 1182"/>
              <a:gd name="T90" fmla="*/ 2147483647 w 2633"/>
              <a:gd name="T91" fmla="*/ 2147483647 h 1182"/>
              <a:gd name="T92" fmla="*/ 2147483647 w 2633"/>
              <a:gd name="T93" fmla="*/ 2147483647 h 1182"/>
              <a:gd name="T94" fmla="*/ 2147483647 w 2633"/>
              <a:gd name="T95" fmla="*/ 2147483647 h 1182"/>
              <a:gd name="T96" fmla="*/ 2147483647 w 2633"/>
              <a:gd name="T97" fmla="*/ 2147483647 h 1182"/>
              <a:gd name="T98" fmla="*/ 2147483647 w 2633"/>
              <a:gd name="T99" fmla="*/ 2147483647 h 1182"/>
              <a:gd name="T100" fmla="*/ 2147483647 w 2633"/>
              <a:gd name="T101" fmla="*/ 2147483647 h 1182"/>
              <a:gd name="T102" fmla="*/ 2147483647 w 2633"/>
              <a:gd name="T103" fmla="*/ 2147483647 h 1182"/>
              <a:gd name="T104" fmla="*/ 2147483647 w 2633"/>
              <a:gd name="T105" fmla="*/ 2147483647 h 1182"/>
              <a:gd name="T106" fmla="*/ 2147483647 w 2633"/>
              <a:gd name="T107" fmla="*/ 2147483647 h 1182"/>
              <a:gd name="T108" fmla="*/ 2147483647 w 2633"/>
              <a:gd name="T109" fmla="*/ 2147483647 h 1182"/>
              <a:gd name="T110" fmla="*/ 2147483647 w 2633"/>
              <a:gd name="T111" fmla="*/ 2147483647 h 1182"/>
              <a:gd name="T112" fmla="*/ 2147483647 w 2633"/>
              <a:gd name="T113" fmla="*/ 2147483647 h 1182"/>
              <a:gd name="T114" fmla="*/ 2147483647 w 2633"/>
              <a:gd name="T115" fmla="*/ 2147483647 h 1182"/>
              <a:gd name="T116" fmla="*/ 2147483647 w 2633"/>
              <a:gd name="T117" fmla="*/ 2147483647 h 118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33"/>
              <a:gd name="T178" fmla="*/ 0 h 1182"/>
              <a:gd name="T179" fmla="*/ 2633 w 2633"/>
              <a:gd name="T180" fmla="*/ 1182 h 118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33" h="1182">
                <a:moveTo>
                  <a:pt x="2292" y="1075"/>
                </a:moveTo>
                <a:lnTo>
                  <a:pt x="2311" y="1075"/>
                </a:lnTo>
                <a:lnTo>
                  <a:pt x="2330" y="1075"/>
                </a:lnTo>
                <a:lnTo>
                  <a:pt x="2351" y="1075"/>
                </a:lnTo>
                <a:lnTo>
                  <a:pt x="2351" y="1056"/>
                </a:lnTo>
                <a:lnTo>
                  <a:pt x="2370" y="1056"/>
                </a:lnTo>
                <a:lnTo>
                  <a:pt x="2370" y="1075"/>
                </a:lnTo>
                <a:lnTo>
                  <a:pt x="2391" y="1075"/>
                </a:lnTo>
                <a:lnTo>
                  <a:pt x="2370" y="1075"/>
                </a:lnTo>
                <a:lnTo>
                  <a:pt x="2330" y="1092"/>
                </a:lnTo>
                <a:lnTo>
                  <a:pt x="2311" y="1109"/>
                </a:lnTo>
                <a:lnTo>
                  <a:pt x="2330" y="1128"/>
                </a:lnTo>
                <a:lnTo>
                  <a:pt x="2351" y="1128"/>
                </a:lnTo>
                <a:lnTo>
                  <a:pt x="2370" y="1128"/>
                </a:lnTo>
                <a:lnTo>
                  <a:pt x="2391" y="1109"/>
                </a:lnTo>
                <a:lnTo>
                  <a:pt x="2432" y="1092"/>
                </a:lnTo>
                <a:lnTo>
                  <a:pt x="2451" y="1075"/>
                </a:lnTo>
                <a:lnTo>
                  <a:pt x="2470" y="1056"/>
                </a:lnTo>
                <a:lnTo>
                  <a:pt x="2451" y="1056"/>
                </a:lnTo>
                <a:lnTo>
                  <a:pt x="2411" y="1056"/>
                </a:lnTo>
                <a:lnTo>
                  <a:pt x="2370" y="1038"/>
                </a:lnTo>
                <a:lnTo>
                  <a:pt x="2370" y="1002"/>
                </a:lnTo>
                <a:lnTo>
                  <a:pt x="2370" y="985"/>
                </a:lnTo>
                <a:lnTo>
                  <a:pt x="2351" y="985"/>
                </a:lnTo>
                <a:lnTo>
                  <a:pt x="2370" y="967"/>
                </a:lnTo>
                <a:lnTo>
                  <a:pt x="2391" y="950"/>
                </a:lnTo>
                <a:lnTo>
                  <a:pt x="2370" y="950"/>
                </a:lnTo>
                <a:lnTo>
                  <a:pt x="2330" y="950"/>
                </a:lnTo>
                <a:lnTo>
                  <a:pt x="2292" y="950"/>
                </a:lnTo>
                <a:lnTo>
                  <a:pt x="2251" y="950"/>
                </a:lnTo>
                <a:lnTo>
                  <a:pt x="2230" y="967"/>
                </a:lnTo>
                <a:lnTo>
                  <a:pt x="2251" y="950"/>
                </a:lnTo>
                <a:lnTo>
                  <a:pt x="2270" y="950"/>
                </a:lnTo>
                <a:lnTo>
                  <a:pt x="2292" y="933"/>
                </a:lnTo>
                <a:lnTo>
                  <a:pt x="2311" y="913"/>
                </a:lnTo>
                <a:lnTo>
                  <a:pt x="2311" y="896"/>
                </a:lnTo>
                <a:lnTo>
                  <a:pt x="2370" y="896"/>
                </a:lnTo>
                <a:lnTo>
                  <a:pt x="2391" y="896"/>
                </a:lnTo>
                <a:lnTo>
                  <a:pt x="2432" y="896"/>
                </a:lnTo>
                <a:lnTo>
                  <a:pt x="2470" y="896"/>
                </a:lnTo>
                <a:lnTo>
                  <a:pt x="2510" y="896"/>
                </a:lnTo>
                <a:lnTo>
                  <a:pt x="2551" y="879"/>
                </a:lnTo>
                <a:lnTo>
                  <a:pt x="2574" y="860"/>
                </a:lnTo>
                <a:lnTo>
                  <a:pt x="2633" y="842"/>
                </a:lnTo>
                <a:lnTo>
                  <a:pt x="2633" y="823"/>
                </a:lnTo>
                <a:lnTo>
                  <a:pt x="2633" y="806"/>
                </a:lnTo>
                <a:lnTo>
                  <a:pt x="2633" y="789"/>
                </a:lnTo>
                <a:lnTo>
                  <a:pt x="2633" y="770"/>
                </a:lnTo>
                <a:lnTo>
                  <a:pt x="2633" y="752"/>
                </a:lnTo>
                <a:lnTo>
                  <a:pt x="2593" y="770"/>
                </a:lnTo>
                <a:lnTo>
                  <a:pt x="2551" y="770"/>
                </a:lnTo>
                <a:lnTo>
                  <a:pt x="2510" y="770"/>
                </a:lnTo>
                <a:lnTo>
                  <a:pt x="2532" y="770"/>
                </a:lnTo>
                <a:lnTo>
                  <a:pt x="2574" y="752"/>
                </a:lnTo>
                <a:lnTo>
                  <a:pt x="2593" y="735"/>
                </a:lnTo>
                <a:lnTo>
                  <a:pt x="2574" y="716"/>
                </a:lnTo>
                <a:lnTo>
                  <a:pt x="2551" y="716"/>
                </a:lnTo>
                <a:lnTo>
                  <a:pt x="2510" y="716"/>
                </a:lnTo>
                <a:lnTo>
                  <a:pt x="2510" y="679"/>
                </a:lnTo>
                <a:lnTo>
                  <a:pt x="2491" y="679"/>
                </a:lnTo>
                <a:lnTo>
                  <a:pt x="2470" y="662"/>
                </a:lnTo>
                <a:lnTo>
                  <a:pt x="2451" y="645"/>
                </a:lnTo>
                <a:lnTo>
                  <a:pt x="2470" y="645"/>
                </a:lnTo>
                <a:lnTo>
                  <a:pt x="2451" y="626"/>
                </a:lnTo>
                <a:lnTo>
                  <a:pt x="2451" y="610"/>
                </a:lnTo>
                <a:lnTo>
                  <a:pt x="2432" y="593"/>
                </a:lnTo>
                <a:lnTo>
                  <a:pt x="2432" y="574"/>
                </a:lnTo>
                <a:lnTo>
                  <a:pt x="2432" y="557"/>
                </a:lnTo>
                <a:lnTo>
                  <a:pt x="2391" y="537"/>
                </a:lnTo>
                <a:lnTo>
                  <a:pt x="2370" y="520"/>
                </a:lnTo>
                <a:lnTo>
                  <a:pt x="2370" y="503"/>
                </a:lnTo>
                <a:lnTo>
                  <a:pt x="2370" y="520"/>
                </a:lnTo>
                <a:lnTo>
                  <a:pt x="2351" y="537"/>
                </a:lnTo>
                <a:lnTo>
                  <a:pt x="2330" y="557"/>
                </a:lnTo>
                <a:lnTo>
                  <a:pt x="2311" y="574"/>
                </a:lnTo>
                <a:lnTo>
                  <a:pt x="2270" y="593"/>
                </a:lnTo>
                <a:lnTo>
                  <a:pt x="2251" y="574"/>
                </a:lnTo>
                <a:lnTo>
                  <a:pt x="2230" y="557"/>
                </a:lnTo>
                <a:lnTo>
                  <a:pt x="2230" y="537"/>
                </a:lnTo>
                <a:lnTo>
                  <a:pt x="2211" y="503"/>
                </a:lnTo>
                <a:lnTo>
                  <a:pt x="2190" y="466"/>
                </a:lnTo>
                <a:lnTo>
                  <a:pt x="2171" y="466"/>
                </a:lnTo>
                <a:lnTo>
                  <a:pt x="2151" y="449"/>
                </a:lnTo>
                <a:lnTo>
                  <a:pt x="2130" y="449"/>
                </a:lnTo>
                <a:lnTo>
                  <a:pt x="2111" y="413"/>
                </a:lnTo>
                <a:lnTo>
                  <a:pt x="2090" y="413"/>
                </a:lnTo>
                <a:lnTo>
                  <a:pt x="2069" y="413"/>
                </a:lnTo>
                <a:lnTo>
                  <a:pt x="2048" y="413"/>
                </a:lnTo>
                <a:lnTo>
                  <a:pt x="2029" y="413"/>
                </a:lnTo>
                <a:lnTo>
                  <a:pt x="1988" y="413"/>
                </a:lnTo>
                <a:lnTo>
                  <a:pt x="1969" y="413"/>
                </a:lnTo>
                <a:lnTo>
                  <a:pt x="1948" y="413"/>
                </a:lnTo>
                <a:lnTo>
                  <a:pt x="1929" y="430"/>
                </a:lnTo>
                <a:lnTo>
                  <a:pt x="1948" y="449"/>
                </a:lnTo>
                <a:lnTo>
                  <a:pt x="1948" y="466"/>
                </a:lnTo>
                <a:lnTo>
                  <a:pt x="1929" y="484"/>
                </a:lnTo>
                <a:lnTo>
                  <a:pt x="1948" y="503"/>
                </a:lnTo>
                <a:lnTo>
                  <a:pt x="1969" y="520"/>
                </a:lnTo>
                <a:lnTo>
                  <a:pt x="1969" y="537"/>
                </a:lnTo>
                <a:lnTo>
                  <a:pt x="1929" y="557"/>
                </a:lnTo>
                <a:lnTo>
                  <a:pt x="1908" y="557"/>
                </a:lnTo>
                <a:lnTo>
                  <a:pt x="1948" y="593"/>
                </a:lnTo>
                <a:lnTo>
                  <a:pt x="1988" y="626"/>
                </a:lnTo>
                <a:lnTo>
                  <a:pt x="1988" y="679"/>
                </a:lnTo>
                <a:lnTo>
                  <a:pt x="1969" y="699"/>
                </a:lnTo>
                <a:lnTo>
                  <a:pt x="1929" y="716"/>
                </a:lnTo>
                <a:lnTo>
                  <a:pt x="1908" y="735"/>
                </a:lnTo>
                <a:lnTo>
                  <a:pt x="1908" y="770"/>
                </a:lnTo>
                <a:lnTo>
                  <a:pt x="1929" y="806"/>
                </a:lnTo>
                <a:lnTo>
                  <a:pt x="1929" y="823"/>
                </a:lnTo>
                <a:lnTo>
                  <a:pt x="1908" y="842"/>
                </a:lnTo>
                <a:lnTo>
                  <a:pt x="1908" y="860"/>
                </a:lnTo>
                <a:lnTo>
                  <a:pt x="1888" y="860"/>
                </a:lnTo>
                <a:lnTo>
                  <a:pt x="1848" y="842"/>
                </a:lnTo>
                <a:lnTo>
                  <a:pt x="1829" y="823"/>
                </a:lnTo>
                <a:lnTo>
                  <a:pt x="1829" y="789"/>
                </a:lnTo>
                <a:lnTo>
                  <a:pt x="1829" y="752"/>
                </a:lnTo>
                <a:lnTo>
                  <a:pt x="1808" y="735"/>
                </a:lnTo>
                <a:lnTo>
                  <a:pt x="1789" y="716"/>
                </a:lnTo>
                <a:lnTo>
                  <a:pt x="1748" y="716"/>
                </a:lnTo>
                <a:lnTo>
                  <a:pt x="1708" y="716"/>
                </a:lnTo>
                <a:lnTo>
                  <a:pt x="1689" y="699"/>
                </a:lnTo>
                <a:lnTo>
                  <a:pt x="1649" y="662"/>
                </a:lnTo>
                <a:lnTo>
                  <a:pt x="1587" y="645"/>
                </a:lnTo>
                <a:lnTo>
                  <a:pt x="1566" y="645"/>
                </a:lnTo>
                <a:lnTo>
                  <a:pt x="1526" y="645"/>
                </a:lnTo>
                <a:lnTo>
                  <a:pt x="1506" y="645"/>
                </a:lnTo>
                <a:lnTo>
                  <a:pt x="1487" y="610"/>
                </a:lnTo>
                <a:lnTo>
                  <a:pt x="1487" y="593"/>
                </a:lnTo>
                <a:lnTo>
                  <a:pt x="1447" y="574"/>
                </a:lnTo>
                <a:lnTo>
                  <a:pt x="1426" y="593"/>
                </a:lnTo>
                <a:lnTo>
                  <a:pt x="1447" y="574"/>
                </a:lnTo>
                <a:lnTo>
                  <a:pt x="1426" y="557"/>
                </a:lnTo>
                <a:lnTo>
                  <a:pt x="1426" y="537"/>
                </a:lnTo>
                <a:lnTo>
                  <a:pt x="1447" y="503"/>
                </a:lnTo>
                <a:lnTo>
                  <a:pt x="1447" y="466"/>
                </a:lnTo>
                <a:lnTo>
                  <a:pt x="1466" y="449"/>
                </a:lnTo>
                <a:lnTo>
                  <a:pt x="1487" y="430"/>
                </a:lnTo>
                <a:lnTo>
                  <a:pt x="1487" y="413"/>
                </a:lnTo>
                <a:lnTo>
                  <a:pt x="1506" y="413"/>
                </a:lnTo>
                <a:lnTo>
                  <a:pt x="1526" y="413"/>
                </a:lnTo>
                <a:lnTo>
                  <a:pt x="1547" y="393"/>
                </a:lnTo>
                <a:lnTo>
                  <a:pt x="1566" y="376"/>
                </a:lnTo>
                <a:lnTo>
                  <a:pt x="1547" y="376"/>
                </a:lnTo>
                <a:lnTo>
                  <a:pt x="1506" y="359"/>
                </a:lnTo>
                <a:lnTo>
                  <a:pt x="1566" y="359"/>
                </a:lnTo>
                <a:lnTo>
                  <a:pt x="1587" y="359"/>
                </a:lnTo>
                <a:lnTo>
                  <a:pt x="1608" y="359"/>
                </a:lnTo>
                <a:lnTo>
                  <a:pt x="1649" y="340"/>
                </a:lnTo>
                <a:lnTo>
                  <a:pt x="1649" y="322"/>
                </a:lnTo>
                <a:lnTo>
                  <a:pt x="1668" y="305"/>
                </a:lnTo>
                <a:lnTo>
                  <a:pt x="1629" y="305"/>
                </a:lnTo>
                <a:lnTo>
                  <a:pt x="1587" y="305"/>
                </a:lnTo>
                <a:lnTo>
                  <a:pt x="1587" y="286"/>
                </a:lnTo>
                <a:lnTo>
                  <a:pt x="1608" y="286"/>
                </a:lnTo>
                <a:lnTo>
                  <a:pt x="1629" y="305"/>
                </a:lnTo>
                <a:lnTo>
                  <a:pt x="1649" y="305"/>
                </a:lnTo>
                <a:lnTo>
                  <a:pt x="1668" y="305"/>
                </a:lnTo>
                <a:lnTo>
                  <a:pt x="1689" y="286"/>
                </a:lnTo>
                <a:lnTo>
                  <a:pt x="1708" y="269"/>
                </a:lnTo>
                <a:lnTo>
                  <a:pt x="1689" y="251"/>
                </a:lnTo>
                <a:lnTo>
                  <a:pt x="1708" y="251"/>
                </a:lnTo>
                <a:lnTo>
                  <a:pt x="1729" y="269"/>
                </a:lnTo>
                <a:lnTo>
                  <a:pt x="1748" y="269"/>
                </a:lnTo>
                <a:lnTo>
                  <a:pt x="1768" y="251"/>
                </a:lnTo>
                <a:lnTo>
                  <a:pt x="1789" y="251"/>
                </a:lnTo>
                <a:lnTo>
                  <a:pt x="1768" y="251"/>
                </a:lnTo>
                <a:lnTo>
                  <a:pt x="1789" y="251"/>
                </a:lnTo>
                <a:lnTo>
                  <a:pt x="1808" y="251"/>
                </a:lnTo>
                <a:lnTo>
                  <a:pt x="1848" y="234"/>
                </a:lnTo>
                <a:lnTo>
                  <a:pt x="1848" y="217"/>
                </a:lnTo>
                <a:lnTo>
                  <a:pt x="1848" y="198"/>
                </a:lnTo>
                <a:lnTo>
                  <a:pt x="1829" y="198"/>
                </a:lnTo>
                <a:lnTo>
                  <a:pt x="1829" y="180"/>
                </a:lnTo>
                <a:lnTo>
                  <a:pt x="1829" y="163"/>
                </a:lnTo>
                <a:lnTo>
                  <a:pt x="1848" y="144"/>
                </a:lnTo>
                <a:lnTo>
                  <a:pt x="1848" y="127"/>
                </a:lnTo>
                <a:lnTo>
                  <a:pt x="1829" y="127"/>
                </a:lnTo>
                <a:lnTo>
                  <a:pt x="1808" y="107"/>
                </a:lnTo>
                <a:lnTo>
                  <a:pt x="1789" y="107"/>
                </a:lnTo>
                <a:lnTo>
                  <a:pt x="1768" y="90"/>
                </a:lnTo>
                <a:lnTo>
                  <a:pt x="1748" y="90"/>
                </a:lnTo>
                <a:lnTo>
                  <a:pt x="1729" y="90"/>
                </a:lnTo>
                <a:lnTo>
                  <a:pt x="1708" y="107"/>
                </a:lnTo>
                <a:lnTo>
                  <a:pt x="1708" y="127"/>
                </a:lnTo>
                <a:lnTo>
                  <a:pt x="1729" y="127"/>
                </a:lnTo>
                <a:lnTo>
                  <a:pt x="1729" y="144"/>
                </a:lnTo>
                <a:lnTo>
                  <a:pt x="1708" y="144"/>
                </a:lnTo>
                <a:lnTo>
                  <a:pt x="1708" y="163"/>
                </a:lnTo>
                <a:lnTo>
                  <a:pt x="1708" y="180"/>
                </a:lnTo>
                <a:lnTo>
                  <a:pt x="1689" y="198"/>
                </a:lnTo>
                <a:lnTo>
                  <a:pt x="1649" y="217"/>
                </a:lnTo>
                <a:lnTo>
                  <a:pt x="1649" y="198"/>
                </a:lnTo>
                <a:lnTo>
                  <a:pt x="1629" y="180"/>
                </a:lnTo>
                <a:lnTo>
                  <a:pt x="1649" y="163"/>
                </a:lnTo>
                <a:lnTo>
                  <a:pt x="1649" y="144"/>
                </a:lnTo>
                <a:lnTo>
                  <a:pt x="1629" y="127"/>
                </a:lnTo>
                <a:lnTo>
                  <a:pt x="1608" y="127"/>
                </a:lnTo>
                <a:lnTo>
                  <a:pt x="1587" y="127"/>
                </a:lnTo>
                <a:lnTo>
                  <a:pt x="1587" y="144"/>
                </a:lnTo>
                <a:lnTo>
                  <a:pt x="1566" y="163"/>
                </a:lnTo>
                <a:lnTo>
                  <a:pt x="1566" y="144"/>
                </a:lnTo>
                <a:lnTo>
                  <a:pt x="1547" y="127"/>
                </a:lnTo>
                <a:lnTo>
                  <a:pt x="1526" y="127"/>
                </a:lnTo>
                <a:lnTo>
                  <a:pt x="1547" y="127"/>
                </a:lnTo>
                <a:lnTo>
                  <a:pt x="1547" y="107"/>
                </a:lnTo>
                <a:lnTo>
                  <a:pt x="1526" y="107"/>
                </a:lnTo>
                <a:lnTo>
                  <a:pt x="1506" y="107"/>
                </a:lnTo>
                <a:lnTo>
                  <a:pt x="1487" y="90"/>
                </a:lnTo>
                <a:lnTo>
                  <a:pt x="1506" y="90"/>
                </a:lnTo>
                <a:lnTo>
                  <a:pt x="1506" y="73"/>
                </a:lnTo>
                <a:lnTo>
                  <a:pt x="1487" y="54"/>
                </a:lnTo>
                <a:lnTo>
                  <a:pt x="1487" y="36"/>
                </a:lnTo>
                <a:lnTo>
                  <a:pt x="1466" y="19"/>
                </a:lnTo>
                <a:lnTo>
                  <a:pt x="1447" y="0"/>
                </a:lnTo>
                <a:lnTo>
                  <a:pt x="1426" y="0"/>
                </a:lnTo>
                <a:lnTo>
                  <a:pt x="1407" y="0"/>
                </a:lnTo>
                <a:lnTo>
                  <a:pt x="1407" y="19"/>
                </a:lnTo>
                <a:lnTo>
                  <a:pt x="1386" y="19"/>
                </a:lnTo>
                <a:lnTo>
                  <a:pt x="1386" y="36"/>
                </a:lnTo>
                <a:lnTo>
                  <a:pt x="1386" y="54"/>
                </a:lnTo>
                <a:lnTo>
                  <a:pt x="1386" y="73"/>
                </a:lnTo>
                <a:lnTo>
                  <a:pt x="1366" y="73"/>
                </a:lnTo>
                <a:lnTo>
                  <a:pt x="1386" y="90"/>
                </a:lnTo>
                <a:lnTo>
                  <a:pt x="1426" y="107"/>
                </a:lnTo>
                <a:lnTo>
                  <a:pt x="1447" y="127"/>
                </a:lnTo>
                <a:lnTo>
                  <a:pt x="1447" y="144"/>
                </a:lnTo>
                <a:lnTo>
                  <a:pt x="1447" y="127"/>
                </a:lnTo>
                <a:lnTo>
                  <a:pt x="1447" y="163"/>
                </a:lnTo>
                <a:lnTo>
                  <a:pt x="1426" y="180"/>
                </a:lnTo>
                <a:lnTo>
                  <a:pt x="1386" y="198"/>
                </a:lnTo>
                <a:lnTo>
                  <a:pt x="1386" y="180"/>
                </a:lnTo>
                <a:lnTo>
                  <a:pt x="1347" y="163"/>
                </a:lnTo>
                <a:lnTo>
                  <a:pt x="1326" y="163"/>
                </a:lnTo>
                <a:lnTo>
                  <a:pt x="1307" y="163"/>
                </a:lnTo>
                <a:lnTo>
                  <a:pt x="1307" y="180"/>
                </a:lnTo>
                <a:lnTo>
                  <a:pt x="1307" y="198"/>
                </a:lnTo>
                <a:lnTo>
                  <a:pt x="1286" y="198"/>
                </a:lnTo>
                <a:lnTo>
                  <a:pt x="1267" y="198"/>
                </a:lnTo>
                <a:lnTo>
                  <a:pt x="1207" y="198"/>
                </a:lnTo>
                <a:lnTo>
                  <a:pt x="1167" y="198"/>
                </a:lnTo>
                <a:lnTo>
                  <a:pt x="1103" y="163"/>
                </a:lnTo>
                <a:lnTo>
                  <a:pt x="1065" y="127"/>
                </a:lnTo>
                <a:lnTo>
                  <a:pt x="1044" y="127"/>
                </a:lnTo>
                <a:lnTo>
                  <a:pt x="1004" y="144"/>
                </a:lnTo>
                <a:lnTo>
                  <a:pt x="984" y="163"/>
                </a:lnTo>
                <a:lnTo>
                  <a:pt x="984" y="180"/>
                </a:lnTo>
                <a:lnTo>
                  <a:pt x="1004" y="180"/>
                </a:lnTo>
                <a:lnTo>
                  <a:pt x="1025" y="180"/>
                </a:lnTo>
                <a:lnTo>
                  <a:pt x="1044" y="163"/>
                </a:lnTo>
                <a:lnTo>
                  <a:pt x="1044" y="180"/>
                </a:lnTo>
                <a:lnTo>
                  <a:pt x="1025" y="180"/>
                </a:lnTo>
                <a:lnTo>
                  <a:pt x="1004" y="198"/>
                </a:lnTo>
                <a:lnTo>
                  <a:pt x="1025" y="217"/>
                </a:lnTo>
                <a:lnTo>
                  <a:pt x="1025" y="234"/>
                </a:lnTo>
                <a:lnTo>
                  <a:pt x="984" y="217"/>
                </a:lnTo>
                <a:lnTo>
                  <a:pt x="984" y="198"/>
                </a:lnTo>
                <a:lnTo>
                  <a:pt x="963" y="198"/>
                </a:lnTo>
                <a:lnTo>
                  <a:pt x="925" y="198"/>
                </a:lnTo>
                <a:lnTo>
                  <a:pt x="904" y="198"/>
                </a:lnTo>
                <a:lnTo>
                  <a:pt x="884" y="198"/>
                </a:lnTo>
                <a:lnTo>
                  <a:pt x="863" y="198"/>
                </a:lnTo>
                <a:lnTo>
                  <a:pt x="844" y="198"/>
                </a:lnTo>
                <a:lnTo>
                  <a:pt x="823" y="198"/>
                </a:lnTo>
                <a:lnTo>
                  <a:pt x="785" y="198"/>
                </a:lnTo>
                <a:lnTo>
                  <a:pt x="785" y="180"/>
                </a:lnTo>
                <a:lnTo>
                  <a:pt x="804" y="180"/>
                </a:lnTo>
                <a:lnTo>
                  <a:pt x="823" y="180"/>
                </a:lnTo>
                <a:lnTo>
                  <a:pt x="785" y="144"/>
                </a:lnTo>
                <a:lnTo>
                  <a:pt x="785" y="127"/>
                </a:lnTo>
                <a:lnTo>
                  <a:pt x="723" y="144"/>
                </a:lnTo>
                <a:lnTo>
                  <a:pt x="683" y="127"/>
                </a:lnTo>
                <a:lnTo>
                  <a:pt x="621" y="107"/>
                </a:lnTo>
                <a:lnTo>
                  <a:pt x="562" y="90"/>
                </a:lnTo>
                <a:lnTo>
                  <a:pt x="541" y="107"/>
                </a:lnTo>
                <a:lnTo>
                  <a:pt x="522" y="107"/>
                </a:lnTo>
                <a:lnTo>
                  <a:pt x="502" y="107"/>
                </a:lnTo>
                <a:lnTo>
                  <a:pt x="502" y="90"/>
                </a:lnTo>
                <a:lnTo>
                  <a:pt x="502" y="73"/>
                </a:lnTo>
                <a:lnTo>
                  <a:pt x="481" y="90"/>
                </a:lnTo>
                <a:lnTo>
                  <a:pt x="462" y="107"/>
                </a:lnTo>
                <a:lnTo>
                  <a:pt x="441" y="107"/>
                </a:lnTo>
                <a:lnTo>
                  <a:pt x="441" y="90"/>
                </a:lnTo>
                <a:lnTo>
                  <a:pt x="401" y="73"/>
                </a:lnTo>
                <a:lnTo>
                  <a:pt x="382" y="73"/>
                </a:lnTo>
                <a:lnTo>
                  <a:pt x="382" y="90"/>
                </a:lnTo>
                <a:lnTo>
                  <a:pt x="362" y="90"/>
                </a:lnTo>
                <a:lnTo>
                  <a:pt x="341" y="90"/>
                </a:lnTo>
                <a:lnTo>
                  <a:pt x="341" y="73"/>
                </a:lnTo>
                <a:lnTo>
                  <a:pt x="322" y="90"/>
                </a:lnTo>
                <a:lnTo>
                  <a:pt x="301" y="90"/>
                </a:lnTo>
                <a:lnTo>
                  <a:pt x="282" y="107"/>
                </a:lnTo>
                <a:lnTo>
                  <a:pt x="263" y="107"/>
                </a:lnTo>
                <a:lnTo>
                  <a:pt x="241" y="127"/>
                </a:lnTo>
                <a:lnTo>
                  <a:pt x="222" y="107"/>
                </a:lnTo>
                <a:lnTo>
                  <a:pt x="201" y="107"/>
                </a:lnTo>
                <a:lnTo>
                  <a:pt x="201" y="127"/>
                </a:lnTo>
                <a:lnTo>
                  <a:pt x="161" y="127"/>
                </a:lnTo>
                <a:lnTo>
                  <a:pt x="161" y="144"/>
                </a:lnTo>
                <a:lnTo>
                  <a:pt x="120" y="144"/>
                </a:lnTo>
                <a:lnTo>
                  <a:pt x="80" y="127"/>
                </a:lnTo>
                <a:lnTo>
                  <a:pt x="40" y="127"/>
                </a:lnTo>
                <a:lnTo>
                  <a:pt x="40" y="107"/>
                </a:lnTo>
                <a:lnTo>
                  <a:pt x="19" y="107"/>
                </a:lnTo>
                <a:lnTo>
                  <a:pt x="0" y="107"/>
                </a:lnTo>
                <a:lnTo>
                  <a:pt x="0" y="127"/>
                </a:lnTo>
                <a:lnTo>
                  <a:pt x="0" y="163"/>
                </a:lnTo>
                <a:lnTo>
                  <a:pt x="0" y="217"/>
                </a:lnTo>
                <a:lnTo>
                  <a:pt x="0" y="286"/>
                </a:lnTo>
                <a:lnTo>
                  <a:pt x="0" y="340"/>
                </a:lnTo>
                <a:lnTo>
                  <a:pt x="0" y="393"/>
                </a:lnTo>
                <a:lnTo>
                  <a:pt x="0" y="466"/>
                </a:lnTo>
                <a:lnTo>
                  <a:pt x="0" y="484"/>
                </a:lnTo>
                <a:lnTo>
                  <a:pt x="0" y="503"/>
                </a:lnTo>
                <a:lnTo>
                  <a:pt x="40" y="520"/>
                </a:lnTo>
                <a:lnTo>
                  <a:pt x="59" y="520"/>
                </a:lnTo>
                <a:lnTo>
                  <a:pt x="80" y="537"/>
                </a:lnTo>
                <a:lnTo>
                  <a:pt x="99" y="557"/>
                </a:lnTo>
                <a:lnTo>
                  <a:pt x="120" y="557"/>
                </a:lnTo>
                <a:lnTo>
                  <a:pt x="140" y="557"/>
                </a:lnTo>
                <a:lnTo>
                  <a:pt x="140" y="537"/>
                </a:lnTo>
                <a:lnTo>
                  <a:pt x="161" y="537"/>
                </a:lnTo>
                <a:lnTo>
                  <a:pt x="182" y="537"/>
                </a:lnTo>
                <a:lnTo>
                  <a:pt x="201" y="557"/>
                </a:lnTo>
                <a:lnTo>
                  <a:pt x="241" y="593"/>
                </a:lnTo>
                <a:lnTo>
                  <a:pt x="263" y="610"/>
                </a:lnTo>
                <a:lnTo>
                  <a:pt x="263" y="626"/>
                </a:lnTo>
                <a:lnTo>
                  <a:pt x="263" y="645"/>
                </a:lnTo>
                <a:lnTo>
                  <a:pt x="282" y="645"/>
                </a:lnTo>
                <a:lnTo>
                  <a:pt x="301" y="662"/>
                </a:lnTo>
                <a:lnTo>
                  <a:pt x="322" y="662"/>
                </a:lnTo>
                <a:lnTo>
                  <a:pt x="322" y="679"/>
                </a:lnTo>
                <a:lnTo>
                  <a:pt x="322" y="699"/>
                </a:lnTo>
                <a:lnTo>
                  <a:pt x="322" y="716"/>
                </a:lnTo>
                <a:lnTo>
                  <a:pt x="322" y="735"/>
                </a:lnTo>
                <a:lnTo>
                  <a:pt x="322" y="752"/>
                </a:lnTo>
                <a:lnTo>
                  <a:pt x="322" y="770"/>
                </a:lnTo>
                <a:lnTo>
                  <a:pt x="341" y="770"/>
                </a:lnTo>
                <a:lnTo>
                  <a:pt x="341" y="789"/>
                </a:lnTo>
                <a:lnTo>
                  <a:pt x="362" y="789"/>
                </a:lnTo>
                <a:lnTo>
                  <a:pt x="362" y="806"/>
                </a:lnTo>
                <a:lnTo>
                  <a:pt x="382" y="823"/>
                </a:lnTo>
                <a:lnTo>
                  <a:pt x="401" y="860"/>
                </a:lnTo>
                <a:lnTo>
                  <a:pt x="422" y="879"/>
                </a:lnTo>
                <a:lnTo>
                  <a:pt x="441" y="896"/>
                </a:lnTo>
                <a:lnTo>
                  <a:pt x="481" y="896"/>
                </a:lnTo>
                <a:lnTo>
                  <a:pt x="502" y="913"/>
                </a:lnTo>
                <a:lnTo>
                  <a:pt x="502" y="933"/>
                </a:lnTo>
                <a:lnTo>
                  <a:pt x="522" y="933"/>
                </a:lnTo>
                <a:lnTo>
                  <a:pt x="541" y="950"/>
                </a:lnTo>
                <a:lnTo>
                  <a:pt x="1426" y="950"/>
                </a:lnTo>
                <a:lnTo>
                  <a:pt x="1426" y="933"/>
                </a:lnTo>
                <a:lnTo>
                  <a:pt x="1447" y="950"/>
                </a:lnTo>
                <a:lnTo>
                  <a:pt x="1466" y="950"/>
                </a:lnTo>
                <a:lnTo>
                  <a:pt x="1487" y="950"/>
                </a:lnTo>
                <a:lnTo>
                  <a:pt x="1506" y="950"/>
                </a:lnTo>
                <a:lnTo>
                  <a:pt x="1526" y="967"/>
                </a:lnTo>
                <a:lnTo>
                  <a:pt x="1566" y="985"/>
                </a:lnTo>
                <a:lnTo>
                  <a:pt x="1587" y="985"/>
                </a:lnTo>
                <a:lnTo>
                  <a:pt x="1608" y="967"/>
                </a:lnTo>
                <a:lnTo>
                  <a:pt x="1629" y="967"/>
                </a:lnTo>
                <a:lnTo>
                  <a:pt x="1649" y="967"/>
                </a:lnTo>
                <a:lnTo>
                  <a:pt x="1649" y="950"/>
                </a:lnTo>
                <a:lnTo>
                  <a:pt x="1668" y="967"/>
                </a:lnTo>
                <a:lnTo>
                  <a:pt x="1668" y="950"/>
                </a:lnTo>
                <a:lnTo>
                  <a:pt x="1689" y="950"/>
                </a:lnTo>
                <a:lnTo>
                  <a:pt x="1708" y="967"/>
                </a:lnTo>
                <a:lnTo>
                  <a:pt x="1708" y="985"/>
                </a:lnTo>
                <a:lnTo>
                  <a:pt x="1729" y="1002"/>
                </a:lnTo>
                <a:lnTo>
                  <a:pt x="1729" y="1019"/>
                </a:lnTo>
                <a:lnTo>
                  <a:pt x="1748" y="1019"/>
                </a:lnTo>
                <a:lnTo>
                  <a:pt x="1768" y="1038"/>
                </a:lnTo>
                <a:lnTo>
                  <a:pt x="1789" y="1056"/>
                </a:lnTo>
                <a:lnTo>
                  <a:pt x="1829" y="1056"/>
                </a:lnTo>
                <a:lnTo>
                  <a:pt x="1848" y="1056"/>
                </a:lnTo>
                <a:lnTo>
                  <a:pt x="1869" y="1056"/>
                </a:lnTo>
                <a:lnTo>
                  <a:pt x="1888" y="1075"/>
                </a:lnTo>
                <a:lnTo>
                  <a:pt x="1888" y="1092"/>
                </a:lnTo>
                <a:lnTo>
                  <a:pt x="1888" y="1109"/>
                </a:lnTo>
                <a:lnTo>
                  <a:pt x="1869" y="1109"/>
                </a:lnTo>
                <a:lnTo>
                  <a:pt x="1848" y="1092"/>
                </a:lnTo>
                <a:lnTo>
                  <a:pt x="1848" y="1109"/>
                </a:lnTo>
                <a:lnTo>
                  <a:pt x="1829" y="1128"/>
                </a:lnTo>
                <a:lnTo>
                  <a:pt x="1808" y="1146"/>
                </a:lnTo>
                <a:lnTo>
                  <a:pt x="1808" y="1163"/>
                </a:lnTo>
                <a:lnTo>
                  <a:pt x="1789" y="1182"/>
                </a:lnTo>
                <a:lnTo>
                  <a:pt x="1808" y="1182"/>
                </a:lnTo>
                <a:lnTo>
                  <a:pt x="1829" y="1182"/>
                </a:lnTo>
                <a:lnTo>
                  <a:pt x="1848" y="1182"/>
                </a:lnTo>
                <a:lnTo>
                  <a:pt x="1869" y="1182"/>
                </a:lnTo>
                <a:lnTo>
                  <a:pt x="1888" y="1182"/>
                </a:lnTo>
                <a:lnTo>
                  <a:pt x="1908" y="1182"/>
                </a:lnTo>
                <a:lnTo>
                  <a:pt x="1908" y="1163"/>
                </a:lnTo>
                <a:lnTo>
                  <a:pt x="1908" y="1146"/>
                </a:lnTo>
                <a:lnTo>
                  <a:pt x="1908" y="1128"/>
                </a:lnTo>
                <a:lnTo>
                  <a:pt x="1948" y="1128"/>
                </a:lnTo>
                <a:lnTo>
                  <a:pt x="1988" y="1128"/>
                </a:lnTo>
                <a:lnTo>
                  <a:pt x="2009" y="1128"/>
                </a:lnTo>
                <a:lnTo>
                  <a:pt x="2029" y="1109"/>
                </a:lnTo>
                <a:lnTo>
                  <a:pt x="2048" y="1092"/>
                </a:lnTo>
                <a:lnTo>
                  <a:pt x="2048" y="1075"/>
                </a:lnTo>
                <a:lnTo>
                  <a:pt x="2069" y="1075"/>
                </a:lnTo>
                <a:lnTo>
                  <a:pt x="2090" y="1075"/>
                </a:lnTo>
                <a:lnTo>
                  <a:pt x="2111" y="1075"/>
                </a:lnTo>
                <a:lnTo>
                  <a:pt x="2130" y="1075"/>
                </a:lnTo>
                <a:lnTo>
                  <a:pt x="2151" y="1075"/>
                </a:lnTo>
                <a:lnTo>
                  <a:pt x="2171" y="1075"/>
                </a:lnTo>
                <a:lnTo>
                  <a:pt x="2171" y="1056"/>
                </a:lnTo>
                <a:lnTo>
                  <a:pt x="2190" y="1038"/>
                </a:lnTo>
                <a:lnTo>
                  <a:pt x="2211" y="1019"/>
                </a:lnTo>
                <a:lnTo>
                  <a:pt x="2230" y="1002"/>
                </a:lnTo>
                <a:lnTo>
                  <a:pt x="2251" y="1002"/>
                </a:lnTo>
                <a:lnTo>
                  <a:pt x="2270" y="1002"/>
                </a:lnTo>
                <a:lnTo>
                  <a:pt x="2292" y="1038"/>
                </a:lnTo>
                <a:lnTo>
                  <a:pt x="2292" y="1056"/>
                </a:lnTo>
                <a:lnTo>
                  <a:pt x="2292" y="1092"/>
                </a:lnTo>
                <a:lnTo>
                  <a:pt x="2292" y="1075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6" name="Freeform 110"/>
          <p:cNvSpPr>
            <a:spLocks/>
          </p:cNvSpPr>
          <p:nvPr/>
        </p:nvSpPr>
        <p:spPr bwMode="gray">
          <a:xfrm>
            <a:off x="1638300" y="3505200"/>
            <a:ext cx="884238" cy="527050"/>
          </a:xfrm>
          <a:custGeom>
            <a:avLst/>
            <a:gdLst>
              <a:gd name="T0" fmla="*/ 2147483647 w 1265"/>
              <a:gd name="T1" fmla="*/ 2147483647 h 734"/>
              <a:gd name="T2" fmla="*/ 2147483647 w 1265"/>
              <a:gd name="T3" fmla="*/ 2147483647 h 734"/>
              <a:gd name="T4" fmla="*/ 2147483647 w 1265"/>
              <a:gd name="T5" fmla="*/ 2147483647 h 734"/>
              <a:gd name="T6" fmla="*/ 2147483647 w 1265"/>
              <a:gd name="T7" fmla="*/ 2147483647 h 734"/>
              <a:gd name="T8" fmla="*/ 2147483647 w 1265"/>
              <a:gd name="T9" fmla="*/ 2147483647 h 734"/>
              <a:gd name="T10" fmla="*/ 2147483647 w 1265"/>
              <a:gd name="T11" fmla="*/ 2147483647 h 734"/>
              <a:gd name="T12" fmla="*/ 2147483647 w 1265"/>
              <a:gd name="T13" fmla="*/ 2147483647 h 734"/>
              <a:gd name="T14" fmla="*/ 2147483647 w 1265"/>
              <a:gd name="T15" fmla="*/ 2147483647 h 734"/>
              <a:gd name="T16" fmla="*/ 2147483647 w 1265"/>
              <a:gd name="T17" fmla="*/ 2147483647 h 734"/>
              <a:gd name="T18" fmla="*/ 2147483647 w 1265"/>
              <a:gd name="T19" fmla="*/ 2147483647 h 734"/>
              <a:gd name="T20" fmla="*/ 2147483647 w 1265"/>
              <a:gd name="T21" fmla="*/ 2147483647 h 734"/>
              <a:gd name="T22" fmla="*/ 2147483647 w 1265"/>
              <a:gd name="T23" fmla="*/ 2147483647 h 734"/>
              <a:gd name="T24" fmla="*/ 2147483647 w 1265"/>
              <a:gd name="T25" fmla="*/ 2147483647 h 734"/>
              <a:gd name="T26" fmla="*/ 2147483647 w 1265"/>
              <a:gd name="T27" fmla="*/ 2147483647 h 734"/>
              <a:gd name="T28" fmla="*/ 2147483647 w 1265"/>
              <a:gd name="T29" fmla="*/ 2147483647 h 734"/>
              <a:gd name="T30" fmla="*/ 2147483647 w 1265"/>
              <a:gd name="T31" fmla="*/ 2147483647 h 734"/>
              <a:gd name="T32" fmla="*/ 2147483647 w 1265"/>
              <a:gd name="T33" fmla="*/ 2147483647 h 734"/>
              <a:gd name="T34" fmla="*/ 2147483647 w 1265"/>
              <a:gd name="T35" fmla="*/ 2147483647 h 734"/>
              <a:gd name="T36" fmla="*/ 2147483647 w 1265"/>
              <a:gd name="T37" fmla="*/ 2147483647 h 734"/>
              <a:gd name="T38" fmla="*/ 2147483647 w 1265"/>
              <a:gd name="T39" fmla="*/ 2147483647 h 734"/>
              <a:gd name="T40" fmla="*/ 2147483647 w 1265"/>
              <a:gd name="T41" fmla="*/ 2147483647 h 734"/>
              <a:gd name="T42" fmla="*/ 2147483647 w 1265"/>
              <a:gd name="T43" fmla="*/ 2147483647 h 734"/>
              <a:gd name="T44" fmla="*/ 2147483647 w 1265"/>
              <a:gd name="T45" fmla="*/ 2147483647 h 734"/>
              <a:gd name="T46" fmla="*/ 2147483647 w 1265"/>
              <a:gd name="T47" fmla="*/ 2147483647 h 734"/>
              <a:gd name="T48" fmla="*/ 2147483647 w 1265"/>
              <a:gd name="T49" fmla="*/ 2147483647 h 734"/>
              <a:gd name="T50" fmla="*/ 2147483647 w 1265"/>
              <a:gd name="T51" fmla="*/ 2147483647 h 734"/>
              <a:gd name="T52" fmla="*/ 2147483647 w 1265"/>
              <a:gd name="T53" fmla="*/ 2147483647 h 734"/>
              <a:gd name="T54" fmla="*/ 2147483647 w 1265"/>
              <a:gd name="T55" fmla="*/ 2147483647 h 734"/>
              <a:gd name="T56" fmla="*/ 2147483647 w 1265"/>
              <a:gd name="T57" fmla="*/ 2147483647 h 734"/>
              <a:gd name="T58" fmla="*/ 2147483647 w 1265"/>
              <a:gd name="T59" fmla="*/ 2147483647 h 734"/>
              <a:gd name="T60" fmla="*/ 2147483647 w 1265"/>
              <a:gd name="T61" fmla="*/ 2147483647 h 734"/>
              <a:gd name="T62" fmla="*/ 2147483647 w 1265"/>
              <a:gd name="T63" fmla="*/ 2147483647 h 734"/>
              <a:gd name="T64" fmla="*/ 2147483647 w 1265"/>
              <a:gd name="T65" fmla="*/ 2147483647 h 734"/>
              <a:gd name="T66" fmla="*/ 2147483647 w 1265"/>
              <a:gd name="T67" fmla="*/ 2147483647 h 734"/>
              <a:gd name="T68" fmla="*/ 2147483647 w 1265"/>
              <a:gd name="T69" fmla="*/ 2147483647 h 734"/>
              <a:gd name="T70" fmla="*/ 2147483647 w 1265"/>
              <a:gd name="T71" fmla="*/ 2147483647 h 734"/>
              <a:gd name="T72" fmla="*/ 2147483647 w 1265"/>
              <a:gd name="T73" fmla="*/ 2147483647 h 734"/>
              <a:gd name="T74" fmla="*/ 2147483647 w 1265"/>
              <a:gd name="T75" fmla="*/ 2147483647 h 734"/>
              <a:gd name="T76" fmla="*/ 2147483647 w 1265"/>
              <a:gd name="T77" fmla="*/ 2147483647 h 734"/>
              <a:gd name="T78" fmla="*/ 2147483647 w 1265"/>
              <a:gd name="T79" fmla="*/ 2147483647 h 734"/>
              <a:gd name="T80" fmla="*/ 2147483647 w 1265"/>
              <a:gd name="T81" fmla="*/ 2147483647 h 734"/>
              <a:gd name="T82" fmla="*/ 2147483647 w 1265"/>
              <a:gd name="T83" fmla="*/ 2147483647 h 734"/>
              <a:gd name="T84" fmla="*/ 2147483647 w 1265"/>
              <a:gd name="T85" fmla="*/ 2147483647 h 734"/>
              <a:gd name="T86" fmla="*/ 2147483647 w 1265"/>
              <a:gd name="T87" fmla="*/ 2147483647 h 734"/>
              <a:gd name="T88" fmla="*/ 2147483647 w 1265"/>
              <a:gd name="T89" fmla="*/ 2147483647 h 734"/>
              <a:gd name="T90" fmla="*/ 2147483647 w 1265"/>
              <a:gd name="T91" fmla="*/ 2147483647 h 734"/>
              <a:gd name="T92" fmla="*/ 2147483647 w 1265"/>
              <a:gd name="T93" fmla="*/ 2147483647 h 734"/>
              <a:gd name="T94" fmla="*/ 2147483647 w 1265"/>
              <a:gd name="T95" fmla="*/ 2147483647 h 734"/>
              <a:gd name="T96" fmla="*/ 2147483647 w 1265"/>
              <a:gd name="T97" fmla="*/ 2147483647 h 73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265"/>
              <a:gd name="T148" fmla="*/ 0 h 734"/>
              <a:gd name="T149" fmla="*/ 1265 w 1265"/>
              <a:gd name="T150" fmla="*/ 734 h 73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265" h="734">
                <a:moveTo>
                  <a:pt x="624" y="215"/>
                </a:moveTo>
                <a:lnTo>
                  <a:pt x="624" y="233"/>
                </a:lnTo>
                <a:lnTo>
                  <a:pt x="624" y="250"/>
                </a:lnTo>
                <a:lnTo>
                  <a:pt x="624" y="269"/>
                </a:lnTo>
                <a:lnTo>
                  <a:pt x="624" y="286"/>
                </a:lnTo>
                <a:lnTo>
                  <a:pt x="624" y="306"/>
                </a:lnTo>
                <a:lnTo>
                  <a:pt x="624" y="323"/>
                </a:lnTo>
                <a:lnTo>
                  <a:pt x="624" y="340"/>
                </a:lnTo>
                <a:lnTo>
                  <a:pt x="624" y="359"/>
                </a:lnTo>
                <a:lnTo>
                  <a:pt x="643" y="359"/>
                </a:lnTo>
                <a:lnTo>
                  <a:pt x="663" y="377"/>
                </a:lnTo>
                <a:lnTo>
                  <a:pt x="663" y="394"/>
                </a:lnTo>
                <a:lnTo>
                  <a:pt x="663" y="413"/>
                </a:lnTo>
                <a:lnTo>
                  <a:pt x="684" y="413"/>
                </a:lnTo>
                <a:lnTo>
                  <a:pt x="703" y="430"/>
                </a:lnTo>
                <a:lnTo>
                  <a:pt x="724" y="430"/>
                </a:lnTo>
                <a:lnTo>
                  <a:pt x="724" y="450"/>
                </a:lnTo>
                <a:lnTo>
                  <a:pt x="743" y="430"/>
                </a:lnTo>
                <a:lnTo>
                  <a:pt x="764" y="430"/>
                </a:lnTo>
                <a:lnTo>
                  <a:pt x="783" y="430"/>
                </a:lnTo>
                <a:lnTo>
                  <a:pt x="803" y="430"/>
                </a:lnTo>
                <a:lnTo>
                  <a:pt x="824" y="413"/>
                </a:lnTo>
                <a:lnTo>
                  <a:pt x="843" y="394"/>
                </a:lnTo>
                <a:lnTo>
                  <a:pt x="843" y="377"/>
                </a:lnTo>
                <a:lnTo>
                  <a:pt x="864" y="359"/>
                </a:lnTo>
                <a:lnTo>
                  <a:pt x="885" y="340"/>
                </a:lnTo>
                <a:lnTo>
                  <a:pt x="906" y="340"/>
                </a:lnTo>
                <a:lnTo>
                  <a:pt x="926" y="340"/>
                </a:lnTo>
                <a:lnTo>
                  <a:pt x="926" y="359"/>
                </a:lnTo>
                <a:lnTo>
                  <a:pt x="945" y="359"/>
                </a:lnTo>
                <a:lnTo>
                  <a:pt x="966" y="359"/>
                </a:lnTo>
                <a:lnTo>
                  <a:pt x="945" y="359"/>
                </a:lnTo>
                <a:lnTo>
                  <a:pt x="945" y="394"/>
                </a:lnTo>
                <a:lnTo>
                  <a:pt x="926" y="413"/>
                </a:lnTo>
                <a:lnTo>
                  <a:pt x="926" y="430"/>
                </a:lnTo>
                <a:lnTo>
                  <a:pt x="926" y="450"/>
                </a:lnTo>
                <a:lnTo>
                  <a:pt x="926" y="467"/>
                </a:lnTo>
                <a:lnTo>
                  <a:pt x="926" y="484"/>
                </a:lnTo>
                <a:lnTo>
                  <a:pt x="906" y="484"/>
                </a:lnTo>
                <a:lnTo>
                  <a:pt x="906" y="503"/>
                </a:lnTo>
                <a:lnTo>
                  <a:pt x="906" y="521"/>
                </a:lnTo>
                <a:lnTo>
                  <a:pt x="945" y="521"/>
                </a:lnTo>
                <a:lnTo>
                  <a:pt x="985" y="503"/>
                </a:lnTo>
                <a:lnTo>
                  <a:pt x="1006" y="503"/>
                </a:lnTo>
                <a:lnTo>
                  <a:pt x="1046" y="521"/>
                </a:lnTo>
                <a:lnTo>
                  <a:pt x="1066" y="521"/>
                </a:lnTo>
                <a:lnTo>
                  <a:pt x="1066" y="538"/>
                </a:lnTo>
                <a:lnTo>
                  <a:pt x="1066" y="555"/>
                </a:lnTo>
                <a:lnTo>
                  <a:pt x="1066" y="572"/>
                </a:lnTo>
                <a:lnTo>
                  <a:pt x="1066" y="590"/>
                </a:lnTo>
                <a:lnTo>
                  <a:pt x="1066" y="609"/>
                </a:lnTo>
                <a:lnTo>
                  <a:pt x="1066" y="626"/>
                </a:lnTo>
                <a:lnTo>
                  <a:pt x="1087" y="645"/>
                </a:lnTo>
                <a:lnTo>
                  <a:pt x="1106" y="663"/>
                </a:lnTo>
                <a:lnTo>
                  <a:pt x="1106" y="680"/>
                </a:lnTo>
                <a:lnTo>
                  <a:pt x="1125" y="680"/>
                </a:lnTo>
                <a:lnTo>
                  <a:pt x="1146" y="680"/>
                </a:lnTo>
                <a:lnTo>
                  <a:pt x="1187" y="680"/>
                </a:lnTo>
                <a:lnTo>
                  <a:pt x="1187" y="663"/>
                </a:lnTo>
                <a:lnTo>
                  <a:pt x="1227" y="680"/>
                </a:lnTo>
                <a:lnTo>
                  <a:pt x="1246" y="680"/>
                </a:lnTo>
                <a:lnTo>
                  <a:pt x="1265" y="680"/>
                </a:lnTo>
                <a:lnTo>
                  <a:pt x="1265" y="699"/>
                </a:lnTo>
                <a:lnTo>
                  <a:pt x="1246" y="716"/>
                </a:lnTo>
                <a:lnTo>
                  <a:pt x="1227" y="716"/>
                </a:lnTo>
                <a:lnTo>
                  <a:pt x="1227" y="699"/>
                </a:lnTo>
                <a:lnTo>
                  <a:pt x="1206" y="680"/>
                </a:lnTo>
                <a:lnTo>
                  <a:pt x="1187" y="680"/>
                </a:lnTo>
                <a:lnTo>
                  <a:pt x="1165" y="699"/>
                </a:lnTo>
                <a:lnTo>
                  <a:pt x="1165" y="716"/>
                </a:lnTo>
                <a:lnTo>
                  <a:pt x="1165" y="734"/>
                </a:lnTo>
                <a:lnTo>
                  <a:pt x="1146" y="734"/>
                </a:lnTo>
                <a:lnTo>
                  <a:pt x="1125" y="734"/>
                </a:lnTo>
                <a:lnTo>
                  <a:pt x="1125" y="716"/>
                </a:lnTo>
                <a:lnTo>
                  <a:pt x="1125" y="699"/>
                </a:lnTo>
                <a:lnTo>
                  <a:pt x="1106" y="699"/>
                </a:lnTo>
                <a:lnTo>
                  <a:pt x="1087" y="699"/>
                </a:lnTo>
                <a:lnTo>
                  <a:pt x="1066" y="699"/>
                </a:lnTo>
                <a:lnTo>
                  <a:pt x="1066" y="680"/>
                </a:lnTo>
                <a:lnTo>
                  <a:pt x="1046" y="680"/>
                </a:lnTo>
                <a:lnTo>
                  <a:pt x="1025" y="663"/>
                </a:lnTo>
                <a:lnTo>
                  <a:pt x="1006" y="645"/>
                </a:lnTo>
                <a:lnTo>
                  <a:pt x="1006" y="663"/>
                </a:lnTo>
                <a:lnTo>
                  <a:pt x="985" y="645"/>
                </a:lnTo>
                <a:lnTo>
                  <a:pt x="985" y="626"/>
                </a:lnTo>
                <a:lnTo>
                  <a:pt x="985" y="609"/>
                </a:lnTo>
                <a:lnTo>
                  <a:pt x="966" y="609"/>
                </a:lnTo>
                <a:lnTo>
                  <a:pt x="945" y="590"/>
                </a:lnTo>
                <a:lnTo>
                  <a:pt x="926" y="590"/>
                </a:lnTo>
                <a:lnTo>
                  <a:pt x="885" y="590"/>
                </a:lnTo>
                <a:lnTo>
                  <a:pt x="864" y="572"/>
                </a:lnTo>
                <a:lnTo>
                  <a:pt x="843" y="555"/>
                </a:lnTo>
                <a:lnTo>
                  <a:pt x="824" y="555"/>
                </a:lnTo>
                <a:lnTo>
                  <a:pt x="803" y="555"/>
                </a:lnTo>
                <a:lnTo>
                  <a:pt x="783" y="538"/>
                </a:lnTo>
                <a:lnTo>
                  <a:pt x="764" y="521"/>
                </a:lnTo>
                <a:lnTo>
                  <a:pt x="724" y="503"/>
                </a:lnTo>
                <a:lnTo>
                  <a:pt x="703" y="503"/>
                </a:lnTo>
                <a:lnTo>
                  <a:pt x="684" y="503"/>
                </a:lnTo>
                <a:lnTo>
                  <a:pt x="684" y="521"/>
                </a:lnTo>
                <a:lnTo>
                  <a:pt x="663" y="521"/>
                </a:lnTo>
                <a:lnTo>
                  <a:pt x="643" y="503"/>
                </a:lnTo>
                <a:lnTo>
                  <a:pt x="624" y="503"/>
                </a:lnTo>
                <a:lnTo>
                  <a:pt x="584" y="503"/>
                </a:lnTo>
                <a:lnTo>
                  <a:pt x="584" y="484"/>
                </a:lnTo>
                <a:lnTo>
                  <a:pt x="563" y="467"/>
                </a:lnTo>
                <a:lnTo>
                  <a:pt x="544" y="467"/>
                </a:lnTo>
                <a:lnTo>
                  <a:pt x="522" y="467"/>
                </a:lnTo>
                <a:lnTo>
                  <a:pt x="503" y="467"/>
                </a:lnTo>
                <a:lnTo>
                  <a:pt x="482" y="450"/>
                </a:lnTo>
                <a:lnTo>
                  <a:pt x="463" y="450"/>
                </a:lnTo>
                <a:lnTo>
                  <a:pt x="463" y="430"/>
                </a:lnTo>
                <a:lnTo>
                  <a:pt x="444" y="430"/>
                </a:lnTo>
                <a:lnTo>
                  <a:pt x="423" y="413"/>
                </a:lnTo>
                <a:lnTo>
                  <a:pt x="403" y="413"/>
                </a:lnTo>
                <a:lnTo>
                  <a:pt x="380" y="413"/>
                </a:lnTo>
                <a:lnTo>
                  <a:pt x="380" y="394"/>
                </a:lnTo>
                <a:lnTo>
                  <a:pt x="380" y="377"/>
                </a:lnTo>
                <a:lnTo>
                  <a:pt x="380" y="359"/>
                </a:lnTo>
                <a:lnTo>
                  <a:pt x="380" y="340"/>
                </a:lnTo>
                <a:lnTo>
                  <a:pt x="361" y="286"/>
                </a:lnTo>
                <a:lnTo>
                  <a:pt x="321" y="269"/>
                </a:lnTo>
                <a:lnTo>
                  <a:pt x="302" y="250"/>
                </a:lnTo>
                <a:lnTo>
                  <a:pt x="281" y="233"/>
                </a:lnTo>
                <a:lnTo>
                  <a:pt x="261" y="233"/>
                </a:lnTo>
                <a:lnTo>
                  <a:pt x="261" y="215"/>
                </a:lnTo>
                <a:lnTo>
                  <a:pt x="261" y="196"/>
                </a:lnTo>
                <a:lnTo>
                  <a:pt x="240" y="181"/>
                </a:lnTo>
                <a:lnTo>
                  <a:pt x="221" y="181"/>
                </a:lnTo>
                <a:lnTo>
                  <a:pt x="200" y="164"/>
                </a:lnTo>
                <a:lnTo>
                  <a:pt x="181" y="144"/>
                </a:lnTo>
                <a:lnTo>
                  <a:pt x="181" y="127"/>
                </a:lnTo>
                <a:lnTo>
                  <a:pt x="161" y="108"/>
                </a:lnTo>
                <a:lnTo>
                  <a:pt x="140" y="91"/>
                </a:lnTo>
                <a:lnTo>
                  <a:pt x="140" y="73"/>
                </a:lnTo>
                <a:lnTo>
                  <a:pt x="121" y="54"/>
                </a:lnTo>
                <a:lnTo>
                  <a:pt x="100" y="54"/>
                </a:lnTo>
                <a:lnTo>
                  <a:pt x="81" y="37"/>
                </a:lnTo>
                <a:lnTo>
                  <a:pt x="81" y="54"/>
                </a:lnTo>
                <a:lnTo>
                  <a:pt x="81" y="73"/>
                </a:lnTo>
                <a:lnTo>
                  <a:pt x="100" y="108"/>
                </a:lnTo>
                <a:lnTo>
                  <a:pt x="121" y="108"/>
                </a:lnTo>
                <a:lnTo>
                  <a:pt x="140" y="127"/>
                </a:lnTo>
                <a:lnTo>
                  <a:pt x="140" y="144"/>
                </a:lnTo>
                <a:lnTo>
                  <a:pt x="161" y="164"/>
                </a:lnTo>
                <a:lnTo>
                  <a:pt x="161" y="181"/>
                </a:lnTo>
                <a:lnTo>
                  <a:pt x="181" y="196"/>
                </a:lnTo>
                <a:lnTo>
                  <a:pt x="181" y="215"/>
                </a:lnTo>
                <a:lnTo>
                  <a:pt x="200" y="233"/>
                </a:lnTo>
                <a:lnTo>
                  <a:pt x="200" y="250"/>
                </a:lnTo>
                <a:lnTo>
                  <a:pt x="221" y="269"/>
                </a:lnTo>
                <a:lnTo>
                  <a:pt x="240" y="269"/>
                </a:lnTo>
                <a:lnTo>
                  <a:pt x="240" y="286"/>
                </a:lnTo>
                <a:lnTo>
                  <a:pt x="261" y="286"/>
                </a:lnTo>
                <a:lnTo>
                  <a:pt x="240" y="306"/>
                </a:lnTo>
                <a:lnTo>
                  <a:pt x="240" y="286"/>
                </a:lnTo>
                <a:lnTo>
                  <a:pt x="221" y="286"/>
                </a:lnTo>
                <a:lnTo>
                  <a:pt x="200" y="286"/>
                </a:lnTo>
                <a:lnTo>
                  <a:pt x="181" y="269"/>
                </a:lnTo>
                <a:lnTo>
                  <a:pt x="181" y="250"/>
                </a:lnTo>
                <a:lnTo>
                  <a:pt x="181" y="233"/>
                </a:lnTo>
                <a:lnTo>
                  <a:pt x="161" y="215"/>
                </a:lnTo>
                <a:lnTo>
                  <a:pt x="140" y="196"/>
                </a:lnTo>
                <a:lnTo>
                  <a:pt x="140" y="181"/>
                </a:lnTo>
                <a:lnTo>
                  <a:pt x="121" y="181"/>
                </a:lnTo>
                <a:lnTo>
                  <a:pt x="100" y="181"/>
                </a:lnTo>
                <a:lnTo>
                  <a:pt x="81" y="164"/>
                </a:lnTo>
                <a:lnTo>
                  <a:pt x="100" y="181"/>
                </a:lnTo>
                <a:lnTo>
                  <a:pt x="121" y="164"/>
                </a:lnTo>
                <a:lnTo>
                  <a:pt x="100" y="127"/>
                </a:lnTo>
                <a:lnTo>
                  <a:pt x="60" y="108"/>
                </a:lnTo>
                <a:lnTo>
                  <a:pt x="60" y="91"/>
                </a:lnTo>
                <a:lnTo>
                  <a:pt x="41" y="73"/>
                </a:lnTo>
                <a:lnTo>
                  <a:pt x="41" y="54"/>
                </a:lnTo>
                <a:lnTo>
                  <a:pt x="19" y="54"/>
                </a:lnTo>
                <a:lnTo>
                  <a:pt x="19" y="37"/>
                </a:lnTo>
                <a:lnTo>
                  <a:pt x="0" y="0"/>
                </a:lnTo>
                <a:lnTo>
                  <a:pt x="81" y="0"/>
                </a:lnTo>
                <a:lnTo>
                  <a:pt x="181" y="37"/>
                </a:lnTo>
                <a:lnTo>
                  <a:pt x="281" y="37"/>
                </a:lnTo>
                <a:lnTo>
                  <a:pt x="302" y="37"/>
                </a:lnTo>
                <a:lnTo>
                  <a:pt x="321" y="37"/>
                </a:lnTo>
                <a:lnTo>
                  <a:pt x="340" y="37"/>
                </a:lnTo>
                <a:lnTo>
                  <a:pt x="361" y="54"/>
                </a:lnTo>
                <a:lnTo>
                  <a:pt x="380" y="54"/>
                </a:lnTo>
                <a:lnTo>
                  <a:pt x="380" y="91"/>
                </a:lnTo>
                <a:lnTo>
                  <a:pt x="423" y="108"/>
                </a:lnTo>
                <a:lnTo>
                  <a:pt x="444" y="108"/>
                </a:lnTo>
                <a:lnTo>
                  <a:pt x="463" y="108"/>
                </a:lnTo>
                <a:lnTo>
                  <a:pt x="463" y="91"/>
                </a:lnTo>
                <a:lnTo>
                  <a:pt x="522" y="108"/>
                </a:lnTo>
                <a:lnTo>
                  <a:pt x="544" y="144"/>
                </a:lnTo>
                <a:lnTo>
                  <a:pt x="584" y="181"/>
                </a:lnTo>
                <a:lnTo>
                  <a:pt x="584" y="196"/>
                </a:lnTo>
                <a:lnTo>
                  <a:pt x="603" y="196"/>
                </a:lnTo>
                <a:lnTo>
                  <a:pt x="624" y="196"/>
                </a:lnTo>
                <a:lnTo>
                  <a:pt x="624" y="215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7" name="Freeform 111"/>
          <p:cNvSpPr>
            <a:spLocks/>
          </p:cNvSpPr>
          <p:nvPr/>
        </p:nvSpPr>
        <p:spPr bwMode="gray">
          <a:xfrm>
            <a:off x="2903538" y="5310188"/>
            <a:ext cx="41275" cy="12700"/>
          </a:xfrm>
          <a:custGeom>
            <a:avLst/>
            <a:gdLst>
              <a:gd name="T0" fmla="*/ 2147483647 w 61"/>
              <a:gd name="T1" fmla="*/ 0 h 19"/>
              <a:gd name="T2" fmla="*/ 2147483647 w 61"/>
              <a:gd name="T3" fmla="*/ 0 h 19"/>
              <a:gd name="T4" fmla="*/ 2147483647 w 61"/>
              <a:gd name="T5" fmla="*/ 0 h 19"/>
              <a:gd name="T6" fmla="*/ 2147483647 w 61"/>
              <a:gd name="T7" fmla="*/ 0 h 19"/>
              <a:gd name="T8" fmla="*/ 2147483647 w 61"/>
              <a:gd name="T9" fmla="*/ 2147483647 h 19"/>
              <a:gd name="T10" fmla="*/ 2147483647 w 61"/>
              <a:gd name="T11" fmla="*/ 2147483647 h 19"/>
              <a:gd name="T12" fmla="*/ 0 w 61"/>
              <a:gd name="T13" fmla="*/ 2147483647 h 19"/>
              <a:gd name="T14" fmla="*/ 0 w 61"/>
              <a:gd name="T15" fmla="*/ 0 h 19"/>
              <a:gd name="T16" fmla="*/ 2147483647 w 61"/>
              <a:gd name="T17" fmla="*/ 0 h 1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1"/>
              <a:gd name="T28" fmla="*/ 0 h 19"/>
              <a:gd name="T29" fmla="*/ 61 w 61"/>
              <a:gd name="T30" fmla="*/ 19 h 1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1" h="19">
                <a:moveTo>
                  <a:pt x="19" y="0"/>
                </a:moveTo>
                <a:lnTo>
                  <a:pt x="42" y="0"/>
                </a:lnTo>
                <a:lnTo>
                  <a:pt x="61" y="0"/>
                </a:lnTo>
                <a:lnTo>
                  <a:pt x="42" y="0"/>
                </a:lnTo>
                <a:lnTo>
                  <a:pt x="42" y="19"/>
                </a:lnTo>
                <a:lnTo>
                  <a:pt x="19" y="19"/>
                </a:lnTo>
                <a:lnTo>
                  <a:pt x="0" y="19"/>
                </a:lnTo>
                <a:lnTo>
                  <a:pt x="0" y="0"/>
                </a:lnTo>
                <a:lnTo>
                  <a:pt x="19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8" name="Freeform 112"/>
          <p:cNvSpPr>
            <a:spLocks/>
          </p:cNvSpPr>
          <p:nvPr/>
        </p:nvSpPr>
        <p:spPr bwMode="gray">
          <a:xfrm>
            <a:off x="2887663" y="5295900"/>
            <a:ext cx="26987" cy="26988"/>
          </a:xfrm>
          <a:custGeom>
            <a:avLst/>
            <a:gdLst>
              <a:gd name="T0" fmla="*/ 0 w 41"/>
              <a:gd name="T1" fmla="*/ 2147483647 h 36"/>
              <a:gd name="T2" fmla="*/ 0 w 41"/>
              <a:gd name="T3" fmla="*/ 0 h 36"/>
              <a:gd name="T4" fmla="*/ 0 w 41"/>
              <a:gd name="T5" fmla="*/ 2147483647 h 36"/>
              <a:gd name="T6" fmla="*/ 2147483647 w 41"/>
              <a:gd name="T7" fmla="*/ 2147483647 h 36"/>
              <a:gd name="T8" fmla="*/ 2147483647 w 41"/>
              <a:gd name="T9" fmla="*/ 0 h 36"/>
              <a:gd name="T10" fmla="*/ 2147483647 w 41"/>
              <a:gd name="T11" fmla="*/ 2147483647 h 36"/>
              <a:gd name="T12" fmla="*/ 2147483647 w 41"/>
              <a:gd name="T13" fmla="*/ 2147483647 h 36"/>
              <a:gd name="T14" fmla="*/ 0 w 41"/>
              <a:gd name="T15" fmla="*/ 2147483647 h 36"/>
              <a:gd name="T16" fmla="*/ 0 w 41"/>
              <a:gd name="T17" fmla="*/ 2147483647 h 36"/>
              <a:gd name="T18" fmla="*/ 0 w 41"/>
              <a:gd name="T19" fmla="*/ 2147483647 h 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36"/>
              <a:gd name="T32" fmla="*/ 41 w 41"/>
              <a:gd name="T33" fmla="*/ 36 h 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36">
                <a:moveTo>
                  <a:pt x="0" y="17"/>
                </a:moveTo>
                <a:lnTo>
                  <a:pt x="0" y="0"/>
                </a:lnTo>
                <a:lnTo>
                  <a:pt x="0" y="17"/>
                </a:lnTo>
                <a:lnTo>
                  <a:pt x="22" y="17"/>
                </a:lnTo>
                <a:lnTo>
                  <a:pt x="41" y="0"/>
                </a:lnTo>
                <a:lnTo>
                  <a:pt x="41" y="17"/>
                </a:lnTo>
                <a:lnTo>
                  <a:pt x="22" y="17"/>
                </a:lnTo>
                <a:lnTo>
                  <a:pt x="0" y="17"/>
                </a:lnTo>
                <a:lnTo>
                  <a:pt x="0" y="36"/>
                </a:lnTo>
                <a:lnTo>
                  <a:pt x="0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09" name="Freeform 114"/>
          <p:cNvSpPr>
            <a:spLocks/>
          </p:cNvSpPr>
          <p:nvPr/>
        </p:nvSpPr>
        <p:spPr bwMode="gray">
          <a:xfrm>
            <a:off x="5332413" y="3930650"/>
            <a:ext cx="12700" cy="0"/>
          </a:xfrm>
          <a:custGeom>
            <a:avLst/>
            <a:gdLst>
              <a:gd name="T0" fmla="*/ 0 w 21"/>
              <a:gd name="T1" fmla="*/ 2147483647 w 21"/>
              <a:gd name="T2" fmla="*/ 0 w 21"/>
              <a:gd name="T3" fmla="*/ 0 60000 65536"/>
              <a:gd name="T4" fmla="*/ 0 60000 65536"/>
              <a:gd name="T5" fmla="*/ 0 60000 65536"/>
              <a:gd name="T6" fmla="*/ 0 w 21"/>
              <a:gd name="T7" fmla="*/ 21 w 21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21">
                <a:moveTo>
                  <a:pt x="0" y="0"/>
                </a:moveTo>
                <a:lnTo>
                  <a:pt x="21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0" name="Freeform 115"/>
          <p:cNvSpPr>
            <a:spLocks/>
          </p:cNvSpPr>
          <p:nvPr/>
        </p:nvSpPr>
        <p:spPr bwMode="gray">
          <a:xfrm>
            <a:off x="2354263" y="3711575"/>
            <a:ext cx="225425" cy="76200"/>
          </a:xfrm>
          <a:custGeom>
            <a:avLst/>
            <a:gdLst>
              <a:gd name="T0" fmla="*/ 2147483647 w 323"/>
              <a:gd name="T1" fmla="*/ 2147483647 h 108"/>
              <a:gd name="T2" fmla="*/ 2147483647 w 323"/>
              <a:gd name="T3" fmla="*/ 2147483647 h 108"/>
              <a:gd name="T4" fmla="*/ 2147483647 w 323"/>
              <a:gd name="T5" fmla="*/ 2147483647 h 108"/>
              <a:gd name="T6" fmla="*/ 2147483647 w 323"/>
              <a:gd name="T7" fmla="*/ 2147483647 h 108"/>
              <a:gd name="T8" fmla="*/ 2147483647 w 323"/>
              <a:gd name="T9" fmla="*/ 2147483647 h 108"/>
              <a:gd name="T10" fmla="*/ 2147483647 w 323"/>
              <a:gd name="T11" fmla="*/ 2147483647 h 108"/>
              <a:gd name="T12" fmla="*/ 2147483647 w 323"/>
              <a:gd name="T13" fmla="*/ 2147483647 h 108"/>
              <a:gd name="T14" fmla="*/ 2147483647 w 323"/>
              <a:gd name="T15" fmla="*/ 2147483647 h 108"/>
              <a:gd name="T16" fmla="*/ 2147483647 w 323"/>
              <a:gd name="T17" fmla="*/ 2147483647 h 108"/>
              <a:gd name="T18" fmla="*/ 2147483647 w 323"/>
              <a:gd name="T19" fmla="*/ 2147483647 h 108"/>
              <a:gd name="T20" fmla="*/ 2147483647 w 323"/>
              <a:gd name="T21" fmla="*/ 2147483647 h 108"/>
              <a:gd name="T22" fmla="*/ 2147483647 w 323"/>
              <a:gd name="T23" fmla="*/ 2147483647 h 108"/>
              <a:gd name="T24" fmla="*/ 2147483647 w 323"/>
              <a:gd name="T25" fmla="*/ 2147483647 h 108"/>
              <a:gd name="T26" fmla="*/ 2147483647 w 323"/>
              <a:gd name="T27" fmla="*/ 2147483647 h 108"/>
              <a:gd name="T28" fmla="*/ 2147483647 w 323"/>
              <a:gd name="T29" fmla="*/ 2147483647 h 108"/>
              <a:gd name="T30" fmla="*/ 2147483647 w 323"/>
              <a:gd name="T31" fmla="*/ 2147483647 h 108"/>
              <a:gd name="T32" fmla="*/ 2147483647 w 323"/>
              <a:gd name="T33" fmla="*/ 2147483647 h 108"/>
              <a:gd name="T34" fmla="*/ 2147483647 w 323"/>
              <a:gd name="T35" fmla="*/ 2147483647 h 108"/>
              <a:gd name="T36" fmla="*/ 2147483647 w 323"/>
              <a:gd name="T37" fmla="*/ 2147483647 h 108"/>
              <a:gd name="T38" fmla="*/ 2147483647 w 323"/>
              <a:gd name="T39" fmla="*/ 2147483647 h 108"/>
              <a:gd name="T40" fmla="*/ 2147483647 w 323"/>
              <a:gd name="T41" fmla="*/ 2147483647 h 108"/>
              <a:gd name="T42" fmla="*/ 2147483647 w 323"/>
              <a:gd name="T43" fmla="*/ 2147483647 h 108"/>
              <a:gd name="T44" fmla="*/ 0 w 323"/>
              <a:gd name="T45" fmla="*/ 2147483647 h 108"/>
              <a:gd name="T46" fmla="*/ 2147483647 w 323"/>
              <a:gd name="T47" fmla="*/ 2147483647 h 108"/>
              <a:gd name="T48" fmla="*/ 2147483647 w 323"/>
              <a:gd name="T49" fmla="*/ 0 h 108"/>
              <a:gd name="T50" fmla="*/ 2147483647 w 323"/>
              <a:gd name="T51" fmla="*/ 0 h 108"/>
              <a:gd name="T52" fmla="*/ 2147483647 w 323"/>
              <a:gd name="T53" fmla="*/ 0 h 108"/>
              <a:gd name="T54" fmla="*/ 2147483647 w 323"/>
              <a:gd name="T55" fmla="*/ 2147483647 h 108"/>
              <a:gd name="T56" fmla="*/ 2147483647 w 323"/>
              <a:gd name="T57" fmla="*/ 2147483647 h 108"/>
              <a:gd name="T58" fmla="*/ 2147483647 w 323"/>
              <a:gd name="T59" fmla="*/ 2147483647 h 108"/>
              <a:gd name="T60" fmla="*/ 2147483647 w 323"/>
              <a:gd name="T61" fmla="*/ 2147483647 h 108"/>
              <a:gd name="T62" fmla="*/ 2147483647 w 323"/>
              <a:gd name="T63" fmla="*/ 2147483647 h 108"/>
              <a:gd name="T64" fmla="*/ 2147483647 w 323"/>
              <a:gd name="T65" fmla="*/ 2147483647 h 108"/>
              <a:gd name="T66" fmla="*/ 2147483647 w 323"/>
              <a:gd name="T67" fmla="*/ 2147483647 h 108"/>
              <a:gd name="T68" fmla="*/ 2147483647 w 323"/>
              <a:gd name="T69" fmla="*/ 2147483647 h 108"/>
              <a:gd name="T70" fmla="*/ 2147483647 w 323"/>
              <a:gd name="T71" fmla="*/ 2147483647 h 1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23"/>
              <a:gd name="T109" fmla="*/ 0 h 108"/>
              <a:gd name="T110" fmla="*/ 323 w 323"/>
              <a:gd name="T111" fmla="*/ 108 h 10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23" h="108">
                <a:moveTo>
                  <a:pt x="323" y="91"/>
                </a:moveTo>
                <a:lnTo>
                  <a:pt x="304" y="108"/>
                </a:lnTo>
                <a:lnTo>
                  <a:pt x="283" y="108"/>
                </a:lnTo>
                <a:lnTo>
                  <a:pt x="263" y="108"/>
                </a:lnTo>
                <a:lnTo>
                  <a:pt x="242" y="108"/>
                </a:lnTo>
                <a:lnTo>
                  <a:pt x="223" y="91"/>
                </a:lnTo>
                <a:lnTo>
                  <a:pt x="242" y="91"/>
                </a:lnTo>
                <a:lnTo>
                  <a:pt x="242" y="73"/>
                </a:lnTo>
                <a:lnTo>
                  <a:pt x="223" y="73"/>
                </a:lnTo>
                <a:lnTo>
                  <a:pt x="202" y="73"/>
                </a:lnTo>
                <a:lnTo>
                  <a:pt x="183" y="73"/>
                </a:lnTo>
                <a:lnTo>
                  <a:pt x="183" y="54"/>
                </a:lnTo>
                <a:lnTo>
                  <a:pt x="162" y="54"/>
                </a:lnTo>
                <a:lnTo>
                  <a:pt x="142" y="54"/>
                </a:lnTo>
                <a:lnTo>
                  <a:pt x="142" y="37"/>
                </a:lnTo>
                <a:lnTo>
                  <a:pt x="121" y="37"/>
                </a:lnTo>
                <a:lnTo>
                  <a:pt x="102" y="37"/>
                </a:lnTo>
                <a:lnTo>
                  <a:pt x="81" y="37"/>
                </a:lnTo>
                <a:lnTo>
                  <a:pt x="81" y="20"/>
                </a:lnTo>
                <a:lnTo>
                  <a:pt x="62" y="20"/>
                </a:lnTo>
                <a:lnTo>
                  <a:pt x="41" y="20"/>
                </a:lnTo>
                <a:lnTo>
                  <a:pt x="41" y="37"/>
                </a:lnTo>
                <a:lnTo>
                  <a:pt x="0" y="54"/>
                </a:lnTo>
                <a:lnTo>
                  <a:pt x="22" y="20"/>
                </a:lnTo>
                <a:lnTo>
                  <a:pt x="41" y="0"/>
                </a:lnTo>
                <a:lnTo>
                  <a:pt x="102" y="0"/>
                </a:lnTo>
                <a:lnTo>
                  <a:pt x="121" y="0"/>
                </a:lnTo>
                <a:lnTo>
                  <a:pt x="162" y="20"/>
                </a:lnTo>
                <a:lnTo>
                  <a:pt x="202" y="37"/>
                </a:lnTo>
                <a:lnTo>
                  <a:pt x="223" y="37"/>
                </a:lnTo>
                <a:lnTo>
                  <a:pt x="242" y="54"/>
                </a:lnTo>
                <a:lnTo>
                  <a:pt x="263" y="73"/>
                </a:lnTo>
                <a:lnTo>
                  <a:pt x="283" y="73"/>
                </a:lnTo>
                <a:lnTo>
                  <a:pt x="304" y="73"/>
                </a:lnTo>
                <a:lnTo>
                  <a:pt x="304" y="91"/>
                </a:lnTo>
                <a:lnTo>
                  <a:pt x="323" y="9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1" name="Freeform 116"/>
          <p:cNvSpPr>
            <a:spLocks/>
          </p:cNvSpPr>
          <p:nvPr/>
        </p:nvSpPr>
        <p:spPr bwMode="gray">
          <a:xfrm>
            <a:off x="2381250" y="3736975"/>
            <a:ext cx="15875" cy="28575"/>
          </a:xfrm>
          <a:custGeom>
            <a:avLst/>
            <a:gdLst>
              <a:gd name="T0" fmla="*/ 2147483647 w 21"/>
              <a:gd name="T1" fmla="*/ 2147483647 h 36"/>
              <a:gd name="T2" fmla="*/ 2147483647 w 21"/>
              <a:gd name="T3" fmla="*/ 2147483647 h 36"/>
              <a:gd name="T4" fmla="*/ 0 w 21"/>
              <a:gd name="T5" fmla="*/ 2147483647 h 36"/>
              <a:gd name="T6" fmla="*/ 0 w 21"/>
              <a:gd name="T7" fmla="*/ 2147483647 h 36"/>
              <a:gd name="T8" fmla="*/ 0 w 21"/>
              <a:gd name="T9" fmla="*/ 0 h 36"/>
              <a:gd name="T10" fmla="*/ 2147483647 w 21"/>
              <a:gd name="T11" fmla="*/ 0 h 36"/>
              <a:gd name="T12" fmla="*/ 2147483647 w 21"/>
              <a:gd name="T13" fmla="*/ 2147483647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"/>
              <a:gd name="T22" fmla="*/ 0 h 36"/>
              <a:gd name="T23" fmla="*/ 21 w 21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" h="36">
                <a:moveTo>
                  <a:pt x="21" y="17"/>
                </a:moveTo>
                <a:lnTo>
                  <a:pt x="21" y="36"/>
                </a:lnTo>
                <a:lnTo>
                  <a:pt x="0" y="36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lnTo>
                  <a:pt x="2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2" name="Freeform 117"/>
          <p:cNvSpPr>
            <a:spLocks/>
          </p:cNvSpPr>
          <p:nvPr/>
        </p:nvSpPr>
        <p:spPr bwMode="gray">
          <a:xfrm>
            <a:off x="2497138" y="3814763"/>
            <a:ext cx="42862" cy="15875"/>
          </a:xfrm>
          <a:custGeom>
            <a:avLst/>
            <a:gdLst>
              <a:gd name="T0" fmla="*/ 2147483647 w 61"/>
              <a:gd name="T1" fmla="*/ 0 h 20"/>
              <a:gd name="T2" fmla="*/ 2147483647 w 61"/>
              <a:gd name="T3" fmla="*/ 0 h 20"/>
              <a:gd name="T4" fmla="*/ 2147483647 w 61"/>
              <a:gd name="T5" fmla="*/ 2147483647 h 20"/>
              <a:gd name="T6" fmla="*/ 2147483647 w 61"/>
              <a:gd name="T7" fmla="*/ 2147483647 h 20"/>
              <a:gd name="T8" fmla="*/ 2147483647 w 61"/>
              <a:gd name="T9" fmla="*/ 2147483647 h 20"/>
              <a:gd name="T10" fmla="*/ 0 w 61"/>
              <a:gd name="T11" fmla="*/ 2147483647 h 20"/>
              <a:gd name="T12" fmla="*/ 0 w 61"/>
              <a:gd name="T13" fmla="*/ 0 h 20"/>
              <a:gd name="T14" fmla="*/ 2147483647 w 61"/>
              <a:gd name="T15" fmla="*/ 0 h 20"/>
              <a:gd name="T16" fmla="*/ 2147483647 w 61"/>
              <a:gd name="T17" fmla="*/ 0 h 2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1"/>
              <a:gd name="T28" fmla="*/ 0 h 20"/>
              <a:gd name="T29" fmla="*/ 61 w 61"/>
              <a:gd name="T30" fmla="*/ 20 h 2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1" h="20">
                <a:moveTo>
                  <a:pt x="40" y="0"/>
                </a:moveTo>
                <a:lnTo>
                  <a:pt x="61" y="0"/>
                </a:lnTo>
                <a:lnTo>
                  <a:pt x="61" y="20"/>
                </a:lnTo>
                <a:lnTo>
                  <a:pt x="40" y="20"/>
                </a:lnTo>
                <a:lnTo>
                  <a:pt x="19" y="20"/>
                </a:lnTo>
                <a:lnTo>
                  <a:pt x="0" y="20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3" name="Freeform 118"/>
          <p:cNvSpPr>
            <a:spLocks/>
          </p:cNvSpPr>
          <p:nvPr/>
        </p:nvSpPr>
        <p:spPr bwMode="gray">
          <a:xfrm>
            <a:off x="2747963" y="3802063"/>
            <a:ext cx="31750" cy="28575"/>
          </a:xfrm>
          <a:custGeom>
            <a:avLst/>
            <a:gdLst>
              <a:gd name="T0" fmla="*/ 2147483647 w 40"/>
              <a:gd name="T1" fmla="*/ 2147483647 h 37"/>
              <a:gd name="T2" fmla="*/ 2147483647 w 40"/>
              <a:gd name="T3" fmla="*/ 2147483647 h 37"/>
              <a:gd name="T4" fmla="*/ 0 w 40"/>
              <a:gd name="T5" fmla="*/ 2147483647 h 37"/>
              <a:gd name="T6" fmla="*/ 0 w 40"/>
              <a:gd name="T7" fmla="*/ 2147483647 h 37"/>
              <a:gd name="T8" fmla="*/ 0 w 40"/>
              <a:gd name="T9" fmla="*/ 0 h 37"/>
              <a:gd name="T10" fmla="*/ 0 w 40"/>
              <a:gd name="T11" fmla="*/ 2147483647 h 37"/>
              <a:gd name="T12" fmla="*/ 2147483647 w 40"/>
              <a:gd name="T13" fmla="*/ 2147483647 h 37"/>
              <a:gd name="T14" fmla="*/ 2147483647 w 40"/>
              <a:gd name="T15" fmla="*/ 2147483647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0"/>
              <a:gd name="T25" fmla="*/ 0 h 37"/>
              <a:gd name="T26" fmla="*/ 40 w 40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0" h="37">
                <a:moveTo>
                  <a:pt x="40" y="17"/>
                </a:moveTo>
                <a:lnTo>
                  <a:pt x="21" y="37"/>
                </a:lnTo>
                <a:lnTo>
                  <a:pt x="0" y="37"/>
                </a:lnTo>
                <a:lnTo>
                  <a:pt x="0" y="17"/>
                </a:lnTo>
                <a:lnTo>
                  <a:pt x="0" y="0"/>
                </a:lnTo>
                <a:lnTo>
                  <a:pt x="0" y="17"/>
                </a:lnTo>
                <a:lnTo>
                  <a:pt x="21" y="17"/>
                </a:lnTo>
                <a:lnTo>
                  <a:pt x="40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4" name="Freeform 119"/>
          <p:cNvSpPr>
            <a:spLocks/>
          </p:cNvSpPr>
          <p:nvPr/>
        </p:nvSpPr>
        <p:spPr bwMode="gray">
          <a:xfrm>
            <a:off x="2579688" y="3776663"/>
            <a:ext cx="127000" cy="53975"/>
          </a:xfrm>
          <a:custGeom>
            <a:avLst/>
            <a:gdLst>
              <a:gd name="T0" fmla="*/ 2147483647 w 182"/>
              <a:gd name="T1" fmla="*/ 2147483647 h 73"/>
              <a:gd name="T2" fmla="*/ 2147483647 w 182"/>
              <a:gd name="T3" fmla="*/ 2147483647 h 73"/>
              <a:gd name="T4" fmla="*/ 2147483647 w 182"/>
              <a:gd name="T5" fmla="*/ 2147483647 h 73"/>
              <a:gd name="T6" fmla="*/ 2147483647 w 182"/>
              <a:gd name="T7" fmla="*/ 2147483647 h 73"/>
              <a:gd name="T8" fmla="*/ 2147483647 w 182"/>
              <a:gd name="T9" fmla="*/ 2147483647 h 73"/>
              <a:gd name="T10" fmla="*/ 2147483647 w 182"/>
              <a:gd name="T11" fmla="*/ 2147483647 h 73"/>
              <a:gd name="T12" fmla="*/ 2147483647 w 182"/>
              <a:gd name="T13" fmla="*/ 2147483647 h 73"/>
              <a:gd name="T14" fmla="*/ 2147483647 w 182"/>
              <a:gd name="T15" fmla="*/ 2147483647 h 73"/>
              <a:gd name="T16" fmla="*/ 2147483647 w 182"/>
              <a:gd name="T17" fmla="*/ 2147483647 h 73"/>
              <a:gd name="T18" fmla="*/ 2147483647 w 182"/>
              <a:gd name="T19" fmla="*/ 2147483647 h 73"/>
              <a:gd name="T20" fmla="*/ 2147483647 w 182"/>
              <a:gd name="T21" fmla="*/ 2147483647 h 73"/>
              <a:gd name="T22" fmla="*/ 2147483647 w 182"/>
              <a:gd name="T23" fmla="*/ 2147483647 h 73"/>
              <a:gd name="T24" fmla="*/ 2147483647 w 182"/>
              <a:gd name="T25" fmla="*/ 2147483647 h 73"/>
              <a:gd name="T26" fmla="*/ 2147483647 w 182"/>
              <a:gd name="T27" fmla="*/ 2147483647 h 73"/>
              <a:gd name="T28" fmla="*/ 0 w 182"/>
              <a:gd name="T29" fmla="*/ 2147483647 h 73"/>
              <a:gd name="T30" fmla="*/ 0 w 182"/>
              <a:gd name="T31" fmla="*/ 2147483647 h 73"/>
              <a:gd name="T32" fmla="*/ 0 w 182"/>
              <a:gd name="T33" fmla="*/ 2147483647 h 73"/>
              <a:gd name="T34" fmla="*/ 2147483647 w 182"/>
              <a:gd name="T35" fmla="*/ 2147483647 h 73"/>
              <a:gd name="T36" fmla="*/ 2147483647 w 182"/>
              <a:gd name="T37" fmla="*/ 2147483647 h 73"/>
              <a:gd name="T38" fmla="*/ 2147483647 w 182"/>
              <a:gd name="T39" fmla="*/ 2147483647 h 73"/>
              <a:gd name="T40" fmla="*/ 2147483647 w 182"/>
              <a:gd name="T41" fmla="*/ 2147483647 h 73"/>
              <a:gd name="T42" fmla="*/ 2147483647 w 182"/>
              <a:gd name="T43" fmla="*/ 0 h 73"/>
              <a:gd name="T44" fmla="*/ 2147483647 w 182"/>
              <a:gd name="T45" fmla="*/ 2147483647 h 73"/>
              <a:gd name="T46" fmla="*/ 2147483647 w 182"/>
              <a:gd name="T47" fmla="*/ 2147483647 h 73"/>
              <a:gd name="T48" fmla="*/ 2147483647 w 182"/>
              <a:gd name="T49" fmla="*/ 2147483647 h 73"/>
              <a:gd name="T50" fmla="*/ 2147483647 w 182"/>
              <a:gd name="T51" fmla="*/ 2147483647 h 73"/>
              <a:gd name="T52" fmla="*/ 2147483647 w 182"/>
              <a:gd name="T53" fmla="*/ 2147483647 h 73"/>
              <a:gd name="T54" fmla="*/ 2147483647 w 182"/>
              <a:gd name="T55" fmla="*/ 2147483647 h 73"/>
              <a:gd name="T56" fmla="*/ 2147483647 w 182"/>
              <a:gd name="T57" fmla="*/ 2147483647 h 73"/>
              <a:gd name="T58" fmla="*/ 2147483647 w 182"/>
              <a:gd name="T59" fmla="*/ 2147483647 h 7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82"/>
              <a:gd name="T91" fmla="*/ 0 h 73"/>
              <a:gd name="T92" fmla="*/ 182 w 182"/>
              <a:gd name="T93" fmla="*/ 73 h 7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82" h="73">
                <a:moveTo>
                  <a:pt x="161" y="36"/>
                </a:moveTo>
                <a:lnTo>
                  <a:pt x="182" y="36"/>
                </a:lnTo>
                <a:lnTo>
                  <a:pt x="182" y="53"/>
                </a:lnTo>
                <a:lnTo>
                  <a:pt x="161" y="53"/>
                </a:lnTo>
                <a:lnTo>
                  <a:pt x="142" y="53"/>
                </a:lnTo>
                <a:lnTo>
                  <a:pt x="123" y="53"/>
                </a:lnTo>
                <a:lnTo>
                  <a:pt x="102" y="53"/>
                </a:lnTo>
                <a:lnTo>
                  <a:pt x="102" y="73"/>
                </a:lnTo>
                <a:lnTo>
                  <a:pt x="82" y="73"/>
                </a:lnTo>
                <a:lnTo>
                  <a:pt x="82" y="53"/>
                </a:lnTo>
                <a:lnTo>
                  <a:pt x="61" y="53"/>
                </a:lnTo>
                <a:lnTo>
                  <a:pt x="42" y="53"/>
                </a:lnTo>
                <a:lnTo>
                  <a:pt x="23" y="53"/>
                </a:lnTo>
                <a:lnTo>
                  <a:pt x="23" y="73"/>
                </a:lnTo>
                <a:lnTo>
                  <a:pt x="0" y="73"/>
                </a:lnTo>
                <a:lnTo>
                  <a:pt x="0" y="53"/>
                </a:lnTo>
                <a:lnTo>
                  <a:pt x="0" y="36"/>
                </a:lnTo>
                <a:lnTo>
                  <a:pt x="42" y="36"/>
                </a:lnTo>
                <a:lnTo>
                  <a:pt x="61" y="36"/>
                </a:lnTo>
                <a:lnTo>
                  <a:pt x="42" y="36"/>
                </a:lnTo>
                <a:lnTo>
                  <a:pt x="42" y="17"/>
                </a:lnTo>
                <a:lnTo>
                  <a:pt x="42" y="0"/>
                </a:lnTo>
                <a:lnTo>
                  <a:pt x="42" y="17"/>
                </a:lnTo>
                <a:lnTo>
                  <a:pt x="61" y="17"/>
                </a:lnTo>
                <a:lnTo>
                  <a:pt x="82" y="17"/>
                </a:lnTo>
                <a:lnTo>
                  <a:pt x="102" y="17"/>
                </a:lnTo>
                <a:lnTo>
                  <a:pt x="123" y="17"/>
                </a:lnTo>
                <a:lnTo>
                  <a:pt x="142" y="36"/>
                </a:lnTo>
                <a:lnTo>
                  <a:pt x="182" y="36"/>
                </a:lnTo>
                <a:lnTo>
                  <a:pt x="161" y="36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5" name="Freeform 120"/>
          <p:cNvSpPr>
            <a:spLocks/>
          </p:cNvSpPr>
          <p:nvPr/>
        </p:nvSpPr>
        <p:spPr bwMode="gray">
          <a:xfrm>
            <a:off x="3084513" y="4176713"/>
            <a:ext cx="41275" cy="38100"/>
          </a:xfrm>
          <a:custGeom>
            <a:avLst/>
            <a:gdLst>
              <a:gd name="T0" fmla="*/ 2147483647 w 59"/>
              <a:gd name="T1" fmla="*/ 0 h 54"/>
              <a:gd name="T2" fmla="*/ 2147483647 w 59"/>
              <a:gd name="T3" fmla="*/ 0 h 54"/>
              <a:gd name="T4" fmla="*/ 2147483647 w 59"/>
              <a:gd name="T5" fmla="*/ 0 h 54"/>
              <a:gd name="T6" fmla="*/ 2147483647 w 59"/>
              <a:gd name="T7" fmla="*/ 2147483647 h 54"/>
              <a:gd name="T8" fmla="*/ 2147483647 w 59"/>
              <a:gd name="T9" fmla="*/ 2147483647 h 54"/>
              <a:gd name="T10" fmla="*/ 2147483647 w 59"/>
              <a:gd name="T11" fmla="*/ 2147483647 h 54"/>
              <a:gd name="T12" fmla="*/ 2147483647 w 59"/>
              <a:gd name="T13" fmla="*/ 2147483647 h 54"/>
              <a:gd name="T14" fmla="*/ 0 w 59"/>
              <a:gd name="T15" fmla="*/ 2147483647 h 54"/>
              <a:gd name="T16" fmla="*/ 0 w 59"/>
              <a:gd name="T17" fmla="*/ 2147483647 h 54"/>
              <a:gd name="T18" fmla="*/ 0 w 59"/>
              <a:gd name="T19" fmla="*/ 0 h 54"/>
              <a:gd name="T20" fmla="*/ 2147483647 w 59"/>
              <a:gd name="T21" fmla="*/ 0 h 5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9"/>
              <a:gd name="T34" fmla="*/ 0 h 54"/>
              <a:gd name="T35" fmla="*/ 59 w 59"/>
              <a:gd name="T36" fmla="*/ 54 h 5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9" h="54">
                <a:moveTo>
                  <a:pt x="21" y="0"/>
                </a:moveTo>
                <a:lnTo>
                  <a:pt x="40" y="0"/>
                </a:lnTo>
                <a:lnTo>
                  <a:pt x="59" y="0"/>
                </a:lnTo>
                <a:lnTo>
                  <a:pt x="59" y="18"/>
                </a:lnTo>
                <a:lnTo>
                  <a:pt x="40" y="35"/>
                </a:lnTo>
                <a:lnTo>
                  <a:pt x="40" y="54"/>
                </a:lnTo>
                <a:lnTo>
                  <a:pt x="21" y="54"/>
                </a:lnTo>
                <a:lnTo>
                  <a:pt x="0" y="35"/>
                </a:lnTo>
                <a:lnTo>
                  <a:pt x="0" y="18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6" name="Freeform 121"/>
          <p:cNvSpPr>
            <a:spLocks/>
          </p:cNvSpPr>
          <p:nvPr/>
        </p:nvSpPr>
        <p:spPr bwMode="gray">
          <a:xfrm>
            <a:off x="2478088" y="3633788"/>
            <a:ext cx="19050" cy="0"/>
          </a:xfrm>
          <a:custGeom>
            <a:avLst/>
            <a:gdLst>
              <a:gd name="T0" fmla="*/ 0 w 21"/>
              <a:gd name="T1" fmla="*/ 2147483647 w 21"/>
              <a:gd name="T2" fmla="*/ 0 w 21"/>
              <a:gd name="T3" fmla="*/ 0 60000 65536"/>
              <a:gd name="T4" fmla="*/ 0 60000 65536"/>
              <a:gd name="T5" fmla="*/ 0 60000 65536"/>
              <a:gd name="T6" fmla="*/ 0 w 21"/>
              <a:gd name="T7" fmla="*/ 21 w 21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21">
                <a:moveTo>
                  <a:pt x="0" y="0"/>
                </a:moveTo>
                <a:lnTo>
                  <a:pt x="21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7" name="Freeform 122"/>
          <p:cNvSpPr>
            <a:spLocks/>
          </p:cNvSpPr>
          <p:nvPr/>
        </p:nvSpPr>
        <p:spPr bwMode="gray">
          <a:xfrm>
            <a:off x="2598738" y="3749675"/>
            <a:ext cx="11112" cy="15875"/>
          </a:xfrm>
          <a:custGeom>
            <a:avLst/>
            <a:gdLst>
              <a:gd name="T0" fmla="*/ 0 w 19"/>
              <a:gd name="T1" fmla="*/ 2147483647 h 19"/>
              <a:gd name="T2" fmla="*/ 2147483647 w 19"/>
              <a:gd name="T3" fmla="*/ 2147483647 h 19"/>
              <a:gd name="T4" fmla="*/ 2147483647 w 19"/>
              <a:gd name="T5" fmla="*/ 0 h 19"/>
              <a:gd name="T6" fmla="*/ 2147483647 w 19"/>
              <a:gd name="T7" fmla="*/ 2147483647 h 19"/>
              <a:gd name="T8" fmla="*/ 0 w 19"/>
              <a:gd name="T9" fmla="*/ 2147483647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19"/>
              <a:gd name="T17" fmla="*/ 19 w 19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19">
                <a:moveTo>
                  <a:pt x="0" y="19"/>
                </a:moveTo>
                <a:lnTo>
                  <a:pt x="19" y="19"/>
                </a:lnTo>
                <a:lnTo>
                  <a:pt x="19" y="0"/>
                </a:lnTo>
                <a:lnTo>
                  <a:pt x="19" y="19"/>
                </a:lnTo>
                <a:lnTo>
                  <a:pt x="0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8" name="Freeform 123"/>
          <p:cNvSpPr>
            <a:spLocks/>
          </p:cNvSpPr>
          <p:nvPr/>
        </p:nvSpPr>
        <p:spPr bwMode="gray">
          <a:xfrm>
            <a:off x="2903538" y="3041650"/>
            <a:ext cx="125412" cy="127000"/>
          </a:xfrm>
          <a:custGeom>
            <a:avLst/>
            <a:gdLst>
              <a:gd name="T0" fmla="*/ 2147483647 w 180"/>
              <a:gd name="T1" fmla="*/ 2147483647 h 177"/>
              <a:gd name="T2" fmla="*/ 0 w 180"/>
              <a:gd name="T3" fmla="*/ 2147483647 h 177"/>
              <a:gd name="T4" fmla="*/ 0 w 180"/>
              <a:gd name="T5" fmla="*/ 2147483647 h 177"/>
              <a:gd name="T6" fmla="*/ 2147483647 w 180"/>
              <a:gd name="T7" fmla="*/ 2147483647 h 177"/>
              <a:gd name="T8" fmla="*/ 2147483647 w 180"/>
              <a:gd name="T9" fmla="*/ 2147483647 h 177"/>
              <a:gd name="T10" fmla="*/ 2147483647 w 180"/>
              <a:gd name="T11" fmla="*/ 2147483647 h 177"/>
              <a:gd name="T12" fmla="*/ 2147483647 w 180"/>
              <a:gd name="T13" fmla="*/ 2147483647 h 177"/>
              <a:gd name="T14" fmla="*/ 2147483647 w 180"/>
              <a:gd name="T15" fmla="*/ 2147483647 h 177"/>
              <a:gd name="T16" fmla="*/ 2147483647 w 180"/>
              <a:gd name="T17" fmla="*/ 2147483647 h 177"/>
              <a:gd name="T18" fmla="*/ 2147483647 w 180"/>
              <a:gd name="T19" fmla="*/ 2147483647 h 177"/>
              <a:gd name="T20" fmla="*/ 2147483647 w 180"/>
              <a:gd name="T21" fmla="*/ 2147483647 h 177"/>
              <a:gd name="T22" fmla="*/ 2147483647 w 180"/>
              <a:gd name="T23" fmla="*/ 2147483647 h 177"/>
              <a:gd name="T24" fmla="*/ 2147483647 w 180"/>
              <a:gd name="T25" fmla="*/ 2147483647 h 177"/>
              <a:gd name="T26" fmla="*/ 2147483647 w 180"/>
              <a:gd name="T27" fmla="*/ 0 h 177"/>
              <a:gd name="T28" fmla="*/ 2147483647 w 180"/>
              <a:gd name="T29" fmla="*/ 2147483647 h 177"/>
              <a:gd name="T30" fmla="*/ 2147483647 w 180"/>
              <a:gd name="T31" fmla="*/ 2147483647 h 177"/>
              <a:gd name="T32" fmla="*/ 2147483647 w 180"/>
              <a:gd name="T33" fmla="*/ 2147483647 h 177"/>
              <a:gd name="T34" fmla="*/ 2147483647 w 180"/>
              <a:gd name="T35" fmla="*/ 2147483647 h 177"/>
              <a:gd name="T36" fmla="*/ 2147483647 w 180"/>
              <a:gd name="T37" fmla="*/ 2147483647 h 177"/>
              <a:gd name="T38" fmla="*/ 2147483647 w 180"/>
              <a:gd name="T39" fmla="*/ 2147483647 h 177"/>
              <a:gd name="T40" fmla="*/ 2147483647 w 180"/>
              <a:gd name="T41" fmla="*/ 2147483647 h 177"/>
              <a:gd name="T42" fmla="*/ 2147483647 w 180"/>
              <a:gd name="T43" fmla="*/ 2147483647 h 177"/>
              <a:gd name="T44" fmla="*/ 2147483647 w 180"/>
              <a:gd name="T45" fmla="*/ 2147483647 h 177"/>
              <a:gd name="T46" fmla="*/ 2147483647 w 180"/>
              <a:gd name="T47" fmla="*/ 2147483647 h 177"/>
              <a:gd name="T48" fmla="*/ 2147483647 w 180"/>
              <a:gd name="T49" fmla="*/ 2147483647 h 177"/>
              <a:gd name="T50" fmla="*/ 2147483647 w 180"/>
              <a:gd name="T51" fmla="*/ 2147483647 h 177"/>
              <a:gd name="T52" fmla="*/ 2147483647 w 180"/>
              <a:gd name="T53" fmla="*/ 2147483647 h 177"/>
              <a:gd name="T54" fmla="*/ 2147483647 w 180"/>
              <a:gd name="T55" fmla="*/ 2147483647 h 177"/>
              <a:gd name="T56" fmla="*/ 2147483647 w 180"/>
              <a:gd name="T57" fmla="*/ 2147483647 h 177"/>
              <a:gd name="T58" fmla="*/ 2147483647 w 180"/>
              <a:gd name="T59" fmla="*/ 2147483647 h 177"/>
              <a:gd name="T60" fmla="*/ 2147483647 w 180"/>
              <a:gd name="T61" fmla="*/ 2147483647 h 177"/>
              <a:gd name="T62" fmla="*/ 2147483647 w 180"/>
              <a:gd name="T63" fmla="*/ 2147483647 h 177"/>
              <a:gd name="T64" fmla="*/ 2147483647 w 180"/>
              <a:gd name="T65" fmla="*/ 2147483647 h 177"/>
              <a:gd name="T66" fmla="*/ 2147483647 w 180"/>
              <a:gd name="T67" fmla="*/ 2147483647 h 177"/>
              <a:gd name="T68" fmla="*/ 2147483647 w 180"/>
              <a:gd name="T69" fmla="*/ 2147483647 h 177"/>
              <a:gd name="T70" fmla="*/ 2147483647 w 180"/>
              <a:gd name="T71" fmla="*/ 2147483647 h 177"/>
              <a:gd name="T72" fmla="*/ 2147483647 w 180"/>
              <a:gd name="T73" fmla="*/ 2147483647 h 177"/>
              <a:gd name="T74" fmla="*/ 2147483647 w 180"/>
              <a:gd name="T75" fmla="*/ 2147483647 h 177"/>
              <a:gd name="T76" fmla="*/ 2147483647 w 180"/>
              <a:gd name="T77" fmla="*/ 2147483647 h 177"/>
              <a:gd name="T78" fmla="*/ 2147483647 w 180"/>
              <a:gd name="T79" fmla="*/ 2147483647 h 17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0"/>
              <a:gd name="T121" fmla="*/ 0 h 177"/>
              <a:gd name="T122" fmla="*/ 180 w 180"/>
              <a:gd name="T123" fmla="*/ 177 h 17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0" h="177">
                <a:moveTo>
                  <a:pt x="19" y="160"/>
                </a:moveTo>
                <a:lnTo>
                  <a:pt x="0" y="160"/>
                </a:lnTo>
                <a:lnTo>
                  <a:pt x="0" y="143"/>
                </a:lnTo>
                <a:lnTo>
                  <a:pt x="19" y="143"/>
                </a:lnTo>
                <a:lnTo>
                  <a:pt x="19" y="125"/>
                </a:lnTo>
                <a:lnTo>
                  <a:pt x="42" y="125"/>
                </a:lnTo>
                <a:lnTo>
                  <a:pt x="19" y="125"/>
                </a:lnTo>
                <a:lnTo>
                  <a:pt x="19" y="108"/>
                </a:lnTo>
                <a:lnTo>
                  <a:pt x="42" y="108"/>
                </a:lnTo>
                <a:lnTo>
                  <a:pt x="61" y="54"/>
                </a:lnTo>
                <a:lnTo>
                  <a:pt x="80" y="37"/>
                </a:lnTo>
                <a:lnTo>
                  <a:pt x="80" y="18"/>
                </a:lnTo>
                <a:lnTo>
                  <a:pt x="101" y="18"/>
                </a:lnTo>
                <a:lnTo>
                  <a:pt x="101" y="0"/>
                </a:lnTo>
                <a:lnTo>
                  <a:pt x="101" y="18"/>
                </a:lnTo>
                <a:lnTo>
                  <a:pt x="101" y="37"/>
                </a:lnTo>
                <a:lnTo>
                  <a:pt x="101" y="54"/>
                </a:lnTo>
                <a:lnTo>
                  <a:pt x="101" y="71"/>
                </a:lnTo>
                <a:lnTo>
                  <a:pt x="101" y="91"/>
                </a:lnTo>
                <a:lnTo>
                  <a:pt x="120" y="91"/>
                </a:lnTo>
                <a:lnTo>
                  <a:pt x="142" y="91"/>
                </a:lnTo>
                <a:lnTo>
                  <a:pt x="161" y="91"/>
                </a:lnTo>
                <a:lnTo>
                  <a:pt x="161" y="108"/>
                </a:lnTo>
                <a:lnTo>
                  <a:pt x="161" y="125"/>
                </a:lnTo>
                <a:lnTo>
                  <a:pt x="161" y="143"/>
                </a:lnTo>
                <a:lnTo>
                  <a:pt x="180" y="143"/>
                </a:lnTo>
                <a:lnTo>
                  <a:pt x="180" y="160"/>
                </a:lnTo>
                <a:lnTo>
                  <a:pt x="180" y="177"/>
                </a:lnTo>
                <a:lnTo>
                  <a:pt x="161" y="177"/>
                </a:lnTo>
                <a:lnTo>
                  <a:pt x="161" y="160"/>
                </a:lnTo>
                <a:lnTo>
                  <a:pt x="142" y="143"/>
                </a:lnTo>
                <a:lnTo>
                  <a:pt x="142" y="160"/>
                </a:lnTo>
                <a:lnTo>
                  <a:pt x="120" y="160"/>
                </a:lnTo>
                <a:lnTo>
                  <a:pt x="101" y="160"/>
                </a:lnTo>
                <a:lnTo>
                  <a:pt x="120" y="160"/>
                </a:lnTo>
                <a:lnTo>
                  <a:pt x="101" y="160"/>
                </a:lnTo>
                <a:lnTo>
                  <a:pt x="80" y="160"/>
                </a:lnTo>
                <a:lnTo>
                  <a:pt x="61" y="160"/>
                </a:lnTo>
                <a:lnTo>
                  <a:pt x="42" y="160"/>
                </a:lnTo>
                <a:lnTo>
                  <a:pt x="19" y="16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19" name="Freeform 124"/>
          <p:cNvSpPr>
            <a:spLocks/>
          </p:cNvSpPr>
          <p:nvPr/>
        </p:nvSpPr>
        <p:spPr bwMode="gray">
          <a:xfrm>
            <a:off x="2413000" y="3003550"/>
            <a:ext cx="23813" cy="25400"/>
          </a:xfrm>
          <a:custGeom>
            <a:avLst/>
            <a:gdLst>
              <a:gd name="T0" fmla="*/ 0 w 40"/>
              <a:gd name="T1" fmla="*/ 0 h 34"/>
              <a:gd name="T2" fmla="*/ 2147483647 w 40"/>
              <a:gd name="T3" fmla="*/ 0 h 34"/>
              <a:gd name="T4" fmla="*/ 2147483647 w 40"/>
              <a:gd name="T5" fmla="*/ 2147483647 h 34"/>
              <a:gd name="T6" fmla="*/ 2147483647 w 40"/>
              <a:gd name="T7" fmla="*/ 2147483647 h 34"/>
              <a:gd name="T8" fmla="*/ 2147483647 w 40"/>
              <a:gd name="T9" fmla="*/ 2147483647 h 34"/>
              <a:gd name="T10" fmla="*/ 2147483647 w 40"/>
              <a:gd name="T11" fmla="*/ 2147483647 h 34"/>
              <a:gd name="T12" fmla="*/ 2147483647 w 40"/>
              <a:gd name="T13" fmla="*/ 2147483647 h 34"/>
              <a:gd name="T14" fmla="*/ 0 w 40"/>
              <a:gd name="T15" fmla="*/ 2147483647 h 34"/>
              <a:gd name="T16" fmla="*/ 0 w 40"/>
              <a:gd name="T17" fmla="*/ 0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34"/>
              <a:gd name="T29" fmla="*/ 40 w 40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34">
                <a:moveTo>
                  <a:pt x="0" y="0"/>
                </a:moveTo>
                <a:lnTo>
                  <a:pt x="19" y="0"/>
                </a:lnTo>
                <a:lnTo>
                  <a:pt x="19" y="17"/>
                </a:lnTo>
                <a:lnTo>
                  <a:pt x="40" y="17"/>
                </a:lnTo>
                <a:lnTo>
                  <a:pt x="40" y="34"/>
                </a:lnTo>
                <a:lnTo>
                  <a:pt x="19" y="34"/>
                </a:lnTo>
                <a:lnTo>
                  <a:pt x="19" y="17"/>
                </a:lnTo>
                <a:lnTo>
                  <a:pt x="0" y="17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0" name="Freeform 125"/>
          <p:cNvSpPr>
            <a:spLocks/>
          </p:cNvSpPr>
          <p:nvPr/>
        </p:nvSpPr>
        <p:spPr bwMode="gray">
          <a:xfrm>
            <a:off x="2789238" y="3092450"/>
            <a:ext cx="57150" cy="26988"/>
          </a:xfrm>
          <a:custGeom>
            <a:avLst/>
            <a:gdLst>
              <a:gd name="T0" fmla="*/ 2147483647 w 81"/>
              <a:gd name="T1" fmla="*/ 2147483647 h 37"/>
              <a:gd name="T2" fmla="*/ 2147483647 w 81"/>
              <a:gd name="T3" fmla="*/ 2147483647 h 37"/>
              <a:gd name="T4" fmla="*/ 2147483647 w 81"/>
              <a:gd name="T5" fmla="*/ 0 h 37"/>
              <a:gd name="T6" fmla="*/ 0 w 81"/>
              <a:gd name="T7" fmla="*/ 0 h 37"/>
              <a:gd name="T8" fmla="*/ 2147483647 w 81"/>
              <a:gd name="T9" fmla="*/ 2147483647 h 37"/>
              <a:gd name="T10" fmla="*/ 2147483647 w 81"/>
              <a:gd name="T11" fmla="*/ 2147483647 h 37"/>
              <a:gd name="T12" fmla="*/ 2147483647 w 81"/>
              <a:gd name="T13" fmla="*/ 2147483647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1"/>
              <a:gd name="T22" fmla="*/ 0 h 37"/>
              <a:gd name="T23" fmla="*/ 81 w 81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1" h="37">
                <a:moveTo>
                  <a:pt x="81" y="37"/>
                </a:moveTo>
                <a:lnTo>
                  <a:pt x="62" y="20"/>
                </a:lnTo>
                <a:lnTo>
                  <a:pt x="41" y="0"/>
                </a:lnTo>
                <a:lnTo>
                  <a:pt x="0" y="0"/>
                </a:lnTo>
                <a:lnTo>
                  <a:pt x="21" y="20"/>
                </a:lnTo>
                <a:lnTo>
                  <a:pt x="62" y="37"/>
                </a:lnTo>
                <a:lnTo>
                  <a:pt x="81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1" name="Freeform 126"/>
          <p:cNvSpPr>
            <a:spLocks/>
          </p:cNvSpPr>
          <p:nvPr/>
        </p:nvSpPr>
        <p:spPr bwMode="gray">
          <a:xfrm>
            <a:off x="2789238" y="3168650"/>
            <a:ext cx="57150" cy="26988"/>
          </a:xfrm>
          <a:custGeom>
            <a:avLst/>
            <a:gdLst>
              <a:gd name="T0" fmla="*/ 2147483647 w 81"/>
              <a:gd name="T1" fmla="*/ 0 h 37"/>
              <a:gd name="T2" fmla="*/ 2147483647 w 81"/>
              <a:gd name="T3" fmla="*/ 2147483647 h 37"/>
              <a:gd name="T4" fmla="*/ 2147483647 w 81"/>
              <a:gd name="T5" fmla="*/ 2147483647 h 37"/>
              <a:gd name="T6" fmla="*/ 2147483647 w 81"/>
              <a:gd name="T7" fmla="*/ 2147483647 h 37"/>
              <a:gd name="T8" fmla="*/ 2147483647 w 81"/>
              <a:gd name="T9" fmla="*/ 2147483647 h 37"/>
              <a:gd name="T10" fmla="*/ 2147483647 w 81"/>
              <a:gd name="T11" fmla="*/ 2147483647 h 37"/>
              <a:gd name="T12" fmla="*/ 2147483647 w 81"/>
              <a:gd name="T13" fmla="*/ 2147483647 h 37"/>
              <a:gd name="T14" fmla="*/ 2147483647 w 81"/>
              <a:gd name="T15" fmla="*/ 2147483647 h 37"/>
              <a:gd name="T16" fmla="*/ 2147483647 w 81"/>
              <a:gd name="T17" fmla="*/ 2147483647 h 37"/>
              <a:gd name="T18" fmla="*/ 0 w 81"/>
              <a:gd name="T19" fmla="*/ 0 h 37"/>
              <a:gd name="T20" fmla="*/ 2147483647 w 81"/>
              <a:gd name="T21" fmla="*/ 0 h 3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1"/>
              <a:gd name="T34" fmla="*/ 0 h 37"/>
              <a:gd name="T35" fmla="*/ 81 w 81"/>
              <a:gd name="T36" fmla="*/ 37 h 3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1" h="37">
                <a:moveTo>
                  <a:pt x="21" y="0"/>
                </a:moveTo>
                <a:lnTo>
                  <a:pt x="21" y="19"/>
                </a:lnTo>
                <a:lnTo>
                  <a:pt x="41" y="19"/>
                </a:lnTo>
                <a:lnTo>
                  <a:pt x="62" y="19"/>
                </a:lnTo>
                <a:lnTo>
                  <a:pt x="81" y="19"/>
                </a:lnTo>
                <a:lnTo>
                  <a:pt x="81" y="37"/>
                </a:lnTo>
                <a:lnTo>
                  <a:pt x="62" y="37"/>
                </a:lnTo>
                <a:lnTo>
                  <a:pt x="41" y="37"/>
                </a:lnTo>
                <a:lnTo>
                  <a:pt x="21" y="19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2" name="Freeform 127"/>
          <p:cNvSpPr>
            <a:spLocks/>
          </p:cNvSpPr>
          <p:nvPr/>
        </p:nvSpPr>
        <p:spPr bwMode="gray">
          <a:xfrm>
            <a:off x="2860675" y="3168650"/>
            <a:ext cx="26988" cy="26988"/>
          </a:xfrm>
          <a:custGeom>
            <a:avLst/>
            <a:gdLst>
              <a:gd name="T0" fmla="*/ 2147483647 w 40"/>
              <a:gd name="T1" fmla="*/ 2147483647 h 37"/>
              <a:gd name="T2" fmla="*/ 2147483647 w 40"/>
              <a:gd name="T3" fmla="*/ 2147483647 h 37"/>
              <a:gd name="T4" fmla="*/ 0 w 40"/>
              <a:gd name="T5" fmla="*/ 2147483647 h 37"/>
              <a:gd name="T6" fmla="*/ 0 w 40"/>
              <a:gd name="T7" fmla="*/ 2147483647 h 37"/>
              <a:gd name="T8" fmla="*/ 2147483647 w 40"/>
              <a:gd name="T9" fmla="*/ 0 h 37"/>
              <a:gd name="T10" fmla="*/ 2147483647 w 40"/>
              <a:gd name="T11" fmla="*/ 0 h 37"/>
              <a:gd name="T12" fmla="*/ 2147483647 w 40"/>
              <a:gd name="T13" fmla="*/ 2147483647 h 37"/>
              <a:gd name="T14" fmla="*/ 2147483647 w 40"/>
              <a:gd name="T15" fmla="*/ 2147483647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0"/>
              <a:gd name="T25" fmla="*/ 0 h 37"/>
              <a:gd name="T26" fmla="*/ 40 w 40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0" h="37">
                <a:moveTo>
                  <a:pt x="40" y="37"/>
                </a:moveTo>
                <a:lnTo>
                  <a:pt x="21" y="37"/>
                </a:lnTo>
                <a:lnTo>
                  <a:pt x="0" y="37"/>
                </a:lnTo>
                <a:lnTo>
                  <a:pt x="0" y="19"/>
                </a:lnTo>
                <a:lnTo>
                  <a:pt x="21" y="0"/>
                </a:lnTo>
                <a:lnTo>
                  <a:pt x="40" y="0"/>
                </a:lnTo>
                <a:lnTo>
                  <a:pt x="40" y="19"/>
                </a:lnTo>
                <a:lnTo>
                  <a:pt x="40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3" name="Freeform 128"/>
          <p:cNvSpPr>
            <a:spLocks/>
          </p:cNvSpPr>
          <p:nvPr/>
        </p:nvSpPr>
        <p:spPr bwMode="gray">
          <a:xfrm>
            <a:off x="1401763" y="3082925"/>
            <a:ext cx="95250" cy="49213"/>
          </a:xfrm>
          <a:custGeom>
            <a:avLst/>
            <a:gdLst>
              <a:gd name="T0" fmla="*/ 0 w 140"/>
              <a:gd name="T1" fmla="*/ 0 h 71"/>
              <a:gd name="T2" fmla="*/ 2147483647 w 140"/>
              <a:gd name="T3" fmla="*/ 0 h 71"/>
              <a:gd name="T4" fmla="*/ 2147483647 w 140"/>
              <a:gd name="T5" fmla="*/ 0 h 71"/>
              <a:gd name="T6" fmla="*/ 2147483647 w 140"/>
              <a:gd name="T7" fmla="*/ 0 h 71"/>
              <a:gd name="T8" fmla="*/ 2147483647 w 140"/>
              <a:gd name="T9" fmla="*/ 2147483647 h 71"/>
              <a:gd name="T10" fmla="*/ 2147483647 w 140"/>
              <a:gd name="T11" fmla="*/ 2147483647 h 71"/>
              <a:gd name="T12" fmla="*/ 2147483647 w 140"/>
              <a:gd name="T13" fmla="*/ 2147483647 h 71"/>
              <a:gd name="T14" fmla="*/ 2147483647 w 140"/>
              <a:gd name="T15" fmla="*/ 2147483647 h 71"/>
              <a:gd name="T16" fmla="*/ 2147483647 w 140"/>
              <a:gd name="T17" fmla="*/ 2147483647 h 71"/>
              <a:gd name="T18" fmla="*/ 2147483647 w 140"/>
              <a:gd name="T19" fmla="*/ 2147483647 h 71"/>
              <a:gd name="T20" fmla="*/ 2147483647 w 140"/>
              <a:gd name="T21" fmla="*/ 2147483647 h 71"/>
              <a:gd name="T22" fmla="*/ 2147483647 w 140"/>
              <a:gd name="T23" fmla="*/ 2147483647 h 71"/>
              <a:gd name="T24" fmla="*/ 0 w 140"/>
              <a:gd name="T25" fmla="*/ 0 h 71"/>
              <a:gd name="T26" fmla="*/ 2147483647 w 140"/>
              <a:gd name="T27" fmla="*/ 0 h 71"/>
              <a:gd name="T28" fmla="*/ 0 w 140"/>
              <a:gd name="T29" fmla="*/ 0 h 7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0"/>
              <a:gd name="T46" fmla="*/ 0 h 71"/>
              <a:gd name="T47" fmla="*/ 140 w 140"/>
              <a:gd name="T48" fmla="*/ 71 h 7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0" h="71">
                <a:moveTo>
                  <a:pt x="0" y="0"/>
                </a:moveTo>
                <a:lnTo>
                  <a:pt x="19" y="0"/>
                </a:lnTo>
                <a:lnTo>
                  <a:pt x="40" y="0"/>
                </a:lnTo>
                <a:lnTo>
                  <a:pt x="59" y="0"/>
                </a:lnTo>
                <a:lnTo>
                  <a:pt x="80" y="17"/>
                </a:lnTo>
                <a:lnTo>
                  <a:pt x="119" y="54"/>
                </a:lnTo>
                <a:lnTo>
                  <a:pt x="140" y="71"/>
                </a:lnTo>
                <a:lnTo>
                  <a:pt x="119" y="71"/>
                </a:lnTo>
                <a:lnTo>
                  <a:pt x="80" y="54"/>
                </a:lnTo>
                <a:lnTo>
                  <a:pt x="59" y="54"/>
                </a:lnTo>
                <a:lnTo>
                  <a:pt x="59" y="37"/>
                </a:lnTo>
                <a:lnTo>
                  <a:pt x="19" y="17"/>
                </a:lnTo>
                <a:lnTo>
                  <a:pt x="0" y="0"/>
                </a:lnTo>
                <a:lnTo>
                  <a:pt x="19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4" name="Freeform 129"/>
          <p:cNvSpPr>
            <a:spLocks/>
          </p:cNvSpPr>
          <p:nvPr/>
        </p:nvSpPr>
        <p:spPr bwMode="gray">
          <a:xfrm>
            <a:off x="1314450" y="2989263"/>
            <a:ext cx="30163" cy="39687"/>
          </a:xfrm>
          <a:custGeom>
            <a:avLst/>
            <a:gdLst>
              <a:gd name="T0" fmla="*/ 0 w 40"/>
              <a:gd name="T1" fmla="*/ 2147483647 h 53"/>
              <a:gd name="T2" fmla="*/ 0 w 40"/>
              <a:gd name="T3" fmla="*/ 0 h 53"/>
              <a:gd name="T4" fmla="*/ 2147483647 w 40"/>
              <a:gd name="T5" fmla="*/ 0 h 53"/>
              <a:gd name="T6" fmla="*/ 0 w 40"/>
              <a:gd name="T7" fmla="*/ 0 h 53"/>
              <a:gd name="T8" fmla="*/ 2147483647 w 40"/>
              <a:gd name="T9" fmla="*/ 0 h 53"/>
              <a:gd name="T10" fmla="*/ 2147483647 w 40"/>
              <a:gd name="T11" fmla="*/ 2147483647 h 53"/>
              <a:gd name="T12" fmla="*/ 2147483647 w 40"/>
              <a:gd name="T13" fmla="*/ 2147483647 h 53"/>
              <a:gd name="T14" fmla="*/ 2147483647 w 40"/>
              <a:gd name="T15" fmla="*/ 2147483647 h 53"/>
              <a:gd name="T16" fmla="*/ 2147483647 w 40"/>
              <a:gd name="T17" fmla="*/ 2147483647 h 53"/>
              <a:gd name="T18" fmla="*/ 2147483647 w 40"/>
              <a:gd name="T19" fmla="*/ 2147483647 h 53"/>
              <a:gd name="T20" fmla="*/ 2147483647 w 40"/>
              <a:gd name="T21" fmla="*/ 2147483647 h 53"/>
              <a:gd name="T22" fmla="*/ 2147483647 w 40"/>
              <a:gd name="T23" fmla="*/ 2147483647 h 53"/>
              <a:gd name="T24" fmla="*/ 0 w 40"/>
              <a:gd name="T25" fmla="*/ 2147483647 h 5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0"/>
              <a:gd name="T40" fmla="*/ 0 h 53"/>
              <a:gd name="T41" fmla="*/ 40 w 40"/>
              <a:gd name="T42" fmla="*/ 53 h 5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0" h="53">
                <a:moveTo>
                  <a:pt x="0" y="19"/>
                </a:moveTo>
                <a:lnTo>
                  <a:pt x="0" y="0"/>
                </a:lnTo>
                <a:lnTo>
                  <a:pt x="21" y="0"/>
                </a:lnTo>
                <a:lnTo>
                  <a:pt x="0" y="0"/>
                </a:lnTo>
                <a:lnTo>
                  <a:pt x="21" y="0"/>
                </a:lnTo>
                <a:lnTo>
                  <a:pt x="21" y="19"/>
                </a:lnTo>
                <a:lnTo>
                  <a:pt x="40" y="36"/>
                </a:lnTo>
                <a:lnTo>
                  <a:pt x="21" y="36"/>
                </a:lnTo>
                <a:lnTo>
                  <a:pt x="21" y="53"/>
                </a:lnTo>
                <a:lnTo>
                  <a:pt x="40" y="53"/>
                </a:lnTo>
                <a:lnTo>
                  <a:pt x="21" y="53"/>
                </a:lnTo>
                <a:lnTo>
                  <a:pt x="21" y="36"/>
                </a:lnTo>
                <a:lnTo>
                  <a:pt x="0" y="19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5" name="Freeform 131"/>
          <p:cNvSpPr>
            <a:spLocks/>
          </p:cNvSpPr>
          <p:nvPr/>
        </p:nvSpPr>
        <p:spPr bwMode="gray">
          <a:xfrm>
            <a:off x="2184400" y="1933575"/>
            <a:ext cx="676275" cy="322263"/>
          </a:xfrm>
          <a:custGeom>
            <a:avLst/>
            <a:gdLst>
              <a:gd name="T0" fmla="*/ 88959246 w 965"/>
              <a:gd name="T1" fmla="*/ 6248442 h 447"/>
              <a:gd name="T2" fmla="*/ 100263901 w 965"/>
              <a:gd name="T3" fmla="*/ 3124581 h 447"/>
              <a:gd name="T4" fmla="*/ 110093365 w 965"/>
              <a:gd name="T5" fmla="*/ 9373023 h 447"/>
              <a:gd name="T6" fmla="*/ 110093365 w 965"/>
              <a:gd name="T7" fmla="*/ 12497604 h 447"/>
              <a:gd name="T8" fmla="*/ 91416962 w 965"/>
              <a:gd name="T9" fmla="*/ 21870627 h 447"/>
              <a:gd name="T10" fmla="*/ 100263901 w 965"/>
              <a:gd name="T11" fmla="*/ 21870627 h 447"/>
              <a:gd name="T12" fmla="*/ 86502230 w 965"/>
              <a:gd name="T13" fmla="*/ 31243650 h 447"/>
              <a:gd name="T14" fmla="*/ 74706312 w 965"/>
              <a:gd name="T15" fmla="*/ 41137917 h 447"/>
              <a:gd name="T16" fmla="*/ 67825126 w 965"/>
              <a:gd name="T17" fmla="*/ 41137917 h 447"/>
              <a:gd name="T18" fmla="*/ 62910394 w 965"/>
              <a:gd name="T19" fmla="*/ 46865836 h 447"/>
              <a:gd name="T20" fmla="*/ 62910394 w 965"/>
              <a:gd name="T21" fmla="*/ 53114277 h 447"/>
              <a:gd name="T22" fmla="*/ 56029909 w 965"/>
              <a:gd name="T23" fmla="*/ 62487300 h 447"/>
              <a:gd name="T24" fmla="*/ 51115177 w 965"/>
              <a:gd name="T25" fmla="*/ 65611882 h 447"/>
              <a:gd name="T26" fmla="*/ 49148724 w 965"/>
              <a:gd name="T27" fmla="*/ 71861044 h 447"/>
              <a:gd name="T28" fmla="*/ 46691708 w 965"/>
              <a:gd name="T29" fmla="*/ 78109486 h 447"/>
              <a:gd name="T30" fmla="*/ 37353507 w 965"/>
              <a:gd name="T31" fmla="*/ 74984905 h 447"/>
              <a:gd name="T32" fmla="*/ 25557589 w 965"/>
              <a:gd name="T33" fmla="*/ 74984905 h 447"/>
              <a:gd name="T34" fmla="*/ 21134119 w 965"/>
              <a:gd name="T35" fmla="*/ 78109486 h 447"/>
              <a:gd name="T36" fmla="*/ 9338201 w 965"/>
              <a:gd name="T37" fmla="*/ 74984905 h 447"/>
              <a:gd name="T38" fmla="*/ 18676403 w 965"/>
              <a:gd name="T39" fmla="*/ 68736463 h 447"/>
              <a:gd name="T40" fmla="*/ 16710650 w 965"/>
              <a:gd name="T41" fmla="*/ 62487300 h 447"/>
              <a:gd name="T42" fmla="*/ 25557589 w 965"/>
              <a:gd name="T43" fmla="*/ 65611882 h 447"/>
              <a:gd name="T44" fmla="*/ 23591135 w 965"/>
              <a:gd name="T45" fmla="*/ 62487300 h 447"/>
              <a:gd name="T46" fmla="*/ 18676403 w 965"/>
              <a:gd name="T47" fmla="*/ 59363440 h 447"/>
              <a:gd name="T48" fmla="*/ 16710650 w 965"/>
              <a:gd name="T49" fmla="*/ 53114277 h 447"/>
              <a:gd name="T50" fmla="*/ 23591135 w 965"/>
              <a:gd name="T51" fmla="*/ 53114277 h 447"/>
              <a:gd name="T52" fmla="*/ 25557589 w 965"/>
              <a:gd name="T53" fmla="*/ 41137917 h 447"/>
              <a:gd name="T54" fmla="*/ 21134119 w 965"/>
              <a:gd name="T55" fmla="*/ 37492813 h 447"/>
              <a:gd name="T56" fmla="*/ 21134119 w 965"/>
              <a:gd name="T57" fmla="*/ 34888755 h 447"/>
              <a:gd name="T58" fmla="*/ 28014604 w 965"/>
              <a:gd name="T59" fmla="*/ 34888755 h 447"/>
              <a:gd name="T60" fmla="*/ 37353507 w 965"/>
              <a:gd name="T61" fmla="*/ 41137917 h 447"/>
              <a:gd name="T62" fmla="*/ 32930037 w 965"/>
              <a:gd name="T63" fmla="*/ 34888755 h 447"/>
              <a:gd name="T64" fmla="*/ 39810522 w 965"/>
              <a:gd name="T65" fmla="*/ 34888755 h 447"/>
              <a:gd name="T66" fmla="*/ 46691708 w 965"/>
              <a:gd name="T67" fmla="*/ 31243650 h 447"/>
              <a:gd name="T68" fmla="*/ 37353507 w 965"/>
              <a:gd name="T69" fmla="*/ 31243650 h 447"/>
              <a:gd name="T70" fmla="*/ 28014604 w 965"/>
              <a:gd name="T71" fmla="*/ 31243650 h 447"/>
              <a:gd name="T72" fmla="*/ 21134119 w 965"/>
              <a:gd name="T73" fmla="*/ 31243650 h 447"/>
              <a:gd name="T74" fmla="*/ 11795918 w 965"/>
              <a:gd name="T75" fmla="*/ 31243650 h 447"/>
              <a:gd name="T76" fmla="*/ 14252934 w 965"/>
              <a:gd name="T77" fmla="*/ 24995209 h 447"/>
              <a:gd name="T78" fmla="*/ 9338201 w 965"/>
              <a:gd name="T79" fmla="*/ 21870627 h 447"/>
              <a:gd name="T80" fmla="*/ 14252934 w 965"/>
              <a:gd name="T81" fmla="*/ 21870627 h 447"/>
              <a:gd name="T82" fmla="*/ 7372449 w 965"/>
              <a:gd name="T83" fmla="*/ 21870627 h 447"/>
              <a:gd name="T84" fmla="*/ 4423469 w 965"/>
              <a:gd name="T85" fmla="*/ 21870627 h 447"/>
              <a:gd name="T86" fmla="*/ 2457717 w 965"/>
              <a:gd name="T87" fmla="*/ 19267290 h 447"/>
              <a:gd name="T88" fmla="*/ 16710650 w 965"/>
              <a:gd name="T89" fmla="*/ 12497604 h 447"/>
              <a:gd name="T90" fmla="*/ 25557589 w 965"/>
              <a:gd name="T91" fmla="*/ 9373023 h 447"/>
              <a:gd name="T92" fmla="*/ 32930037 w 965"/>
              <a:gd name="T93" fmla="*/ 9373023 h 447"/>
              <a:gd name="T94" fmla="*/ 39810522 w 965"/>
              <a:gd name="T95" fmla="*/ 6248442 h 447"/>
              <a:gd name="T96" fmla="*/ 46691708 w 965"/>
              <a:gd name="T97" fmla="*/ 3124581 h 447"/>
              <a:gd name="T98" fmla="*/ 58486925 w 965"/>
              <a:gd name="T99" fmla="*/ 0 h 447"/>
              <a:gd name="T100" fmla="*/ 65368111 w 965"/>
              <a:gd name="T101" fmla="*/ 3124581 h 447"/>
              <a:gd name="T102" fmla="*/ 70282843 w 965"/>
              <a:gd name="T103" fmla="*/ 0 h 447"/>
              <a:gd name="T104" fmla="*/ 79621044 w 965"/>
              <a:gd name="T105" fmla="*/ 0 h 44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965"/>
              <a:gd name="T160" fmla="*/ 0 h 447"/>
              <a:gd name="T161" fmla="*/ 965 w 965"/>
              <a:gd name="T162" fmla="*/ 447 h 44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965" h="447">
                <a:moveTo>
                  <a:pt x="806" y="17"/>
                </a:moveTo>
                <a:lnTo>
                  <a:pt x="785" y="35"/>
                </a:lnTo>
                <a:lnTo>
                  <a:pt x="765" y="35"/>
                </a:lnTo>
                <a:lnTo>
                  <a:pt x="806" y="35"/>
                </a:lnTo>
                <a:lnTo>
                  <a:pt x="825" y="17"/>
                </a:lnTo>
                <a:lnTo>
                  <a:pt x="865" y="17"/>
                </a:lnTo>
                <a:lnTo>
                  <a:pt x="886" y="35"/>
                </a:lnTo>
                <a:lnTo>
                  <a:pt x="927" y="54"/>
                </a:lnTo>
                <a:lnTo>
                  <a:pt x="946" y="54"/>
                </a:lnTo>
                <a:lnTo>
                  <a:pt x="965" y="54"/>
                </a:lnTo>
                <a:lnTo>
                  <a:pt x="965" y="71"/>
                </a:lnTo>
                <a:lnTo>
                  <a:pt x="946" y="71"/>
                </a:lnTo>
                <a:lnTo>
                  <a:pt x="886" y="90"/>
                </a:lnTo>
                <a:lnTo>
                  <a:pt x="846" y="108"/>
                </a:lnTo>
                <a:lnTo>
                  <a:pt x="785" y="125"/>
                </a:lnTo>
                <a:lnTo>
                  <a:pt x="806" y="125"/>
                </a:lnTo>
                <a:lnTo>
                  <a:pt x="846" y="125"/>
                </a:lnTo>
                <a:lnTo>
                  <a:pt x="865" y="125"/>
                </a:lnTo>
                <a:lnTo>
                  <a:pt x="825" y="144"/>
                </a:lnTo>
                <a:lnTo>
                  <a:pt x="785" y="161"/>
                </a:lnTo>
                <a:lnTo>
                  <a:pt x="746" y="179"/>
                </a:lnTo>
                <a:lnTo>
                  <a:pt x="706" y="179"/>
                </a:lnTo>
                <a:lnTo>
                  <a:pt x="666" y="215"/>
                </a:lnTo>
                <a:lnTo>
                  <a:pt x="645" y="234"/>
                </a:lnTo>
                <a:lnTo>
                  <a:pt x="625" y="234"/>
                </a:lnTo>
                <a:lnTo>
                  <a:pt x="606" y="234"/>
                </a:lnTo>
                <a:lnTo>
                  <a:pt x="585" y="234"/>
                </a:lnTo>
                <a:lnTo>
                  <a:pt x="543" y="252"/>
                </a:lnTo>
                <a:lnTo>
                  <a:pt x="524" y="267"/>
                </a:lnTo>
                <a:lnTo>
                  <a:pt x="543" y="267"/>
                </a:lnTo>
                <a:lnTo>
                  <a:pt x="543" y="286"/>
                </a:lnTo>
                <a:lnTo>
                  <a:pt x="524" y="286"/>
                </a:lnTo>
                <a:lnTo>
                  <a:pt x="543" y="303"/>
                </a:lnTo>
                <a:lnTo>
                  <a:pt x="524" y="321"/>
                </a:lnTo>
                <a:lnTo>
                  <a:pt x="502" y="340"/>
                </a:lnTo>
                <a:lnTo>
                  <a:pt x="483" y="357"/>
                </a:lnTo>
                <a:lnTo>
                  <a:pt x="462" y="357"/>
                </a:lnTo>
                <a:lnTo>
                  <a:pt x="443" y="357"/>
                </a:lnTo>
                <a:lnTo>
                  <a:pt x="443" y="374"/>
                </a:lnTo>
                <a:lnTo>
                  <a:pt x="403" y="394"/>
                </a:lnTo>
                <a:lnTo>
                  <a:pt x="403" y="411"/>
                </a:lnTo>
                <a:lnTo>
                  <a:pt x="424" y="411"/>
                </a:lnTo>
                <a:lnTo>
                  <a:pt x="443" y="411"/>
                </a:lnTo>
                <a:lnTo>
                  <a:pt x="424" y="430"/>
                </a:lnTo>
                <a:lnTo>
                  <a:pt x="403" y="447"/>
                </a:lnTo>
                <a:lnTo>
                  <a:pt x="362" y="447"/>
                </a:lnTo>
                <a:lnTo>
                  <a:pt x="343" y="447"/>
                </a:lnTo>
                <a:lnTo>
                  <a:pt x="322" y="430"/>
                </a:lnTo>
                <a:lnTo>
                  <a:pt x="282" y="430"/>
                </a:lnTo>
                <a:lnTo>
                  <a:pt x="243" y="430"/>
                </a:lnTo>
                <a:lnTo>
                  <a:pt x="222" y="430"/>
                </a:lnTo>
                <a:lnTo>
                  <a:pt x="222" y="447"/>
                </a:lnTo>
                <a:lnTo>
                  <a:pt x="203" y="447"/>
                </a:lnTo>
                <a:lnTo>
                  <a:pt x="182" y="447"/>
                </a:lnTo>
                <a:lnTo>
                  <a:pt x="142" y="430"/>
                </a:lnTo>
                <a:lnTo>
                  <a:pt x="103" y="430"/>
                </a:lnTo>
                <a:lnTo>
                  <a:pt x="80" y="430"/>
                </a:lnTo>
                <a:lnTo>
                  <a:pt x="103" y="411"/>
                </a:lnTo>
                <a:lnTo>
                  <a:pt x="142" y="394"/>
                </a:lnTo>
                <a:lnTo>
                  <a:pt x="163" y="394"/>
                </a:lnTo>
                <a:lnTo>
                  <a:pt x="142" y="374"/>
                </a:lnTo>
                <a:lnTo>
                  <a:pt x="122" y="357"/>
                </a:lnTo>
                <a:lnTo>
                  <a:pt x="142" y="357"/>
                </a:lnTo>
                <a:lnTo>
                  <a:pt x="182" y="357"/>
                </a:lnTo>
                <a:lnTo>
                  <a:pt x="203" y="357"/>
                </a:lnTo>
                <a:lnTo>
                  <a:pt x="222" y="374"/>
                </a:lnTo>
                <a:lnTo>
                  <a:pt x="243" y="374"/>
                </a:lnTo>
                <a:lnTo>
                  <a:pt x="222" y="357"/>
                </a:lnTo>
                <a:lnTo>
                  <a:pt x="203" y="357"/>
                </a:lnTo>
                <a:lnTo>
                  <a:pt x="203" y="340"/>
                </a:lnTo>
                <a:lnTo>
                  <a:pt x="182" y="340"/>
                </a:lnTo>
                <a:lnTo>
                  <a:pt x="163" y="340"/>
                </a:lnTo>
                <a:lnTo>
                  <a:pt x="142" y="340"/>
                </a:lnTo>
                <a:lnTo>
                  <a:pt x="142" y="321"/>
                </a:lnTo>
                <a:lnTo>
                  <a:pt x="142" y="303"/>
                </a:lnTo>
                <a:lnTo>
                  <a:pt x="163" y="303"/>
                </a:lnTo>
                <a:lnTo>
                  <a:pt x="182" y="303"/>
                </a:lnTo>
                <a:lnTo>
                  <a:pt x="203" y="303"/>
                </a:lnTo>
                <a:lnTo>
                  <a:pt x="222" y="286"/>
                </a:lnTo>
                <a:lnTo>
                  <a:pt x="243" y="267"/>
                </a:lnTo>
                <a:lnTo>
                  <a:pt x="222" y="234"/>
                </a:lnTo>
                <a:lnTo>
                  <a:pt x="182" y="234"/>
                </a:lnTo>
                <a:lnTo>
                  <a:pt x="163" y="215"/>
                </a:lnTo>
                <a:lnTo>
                  <a:pt x="182" y="215"/>
                </a:lnTo>
                <a:lnTo>
                  <a:pt x="203" y="215"/>
                </a:lnTo>
                <a:lnTo>
                  <a:pt x="182" y="215"/>
                </a:lnTo>
                <a:lnTo>
                  <a:pt x="182" y="198"/>
                </a:lnTo>
                <a:lnTo>
                  <a:pt x="203" y="198"/>
                </a:lnTo>
                <a:lnTo>
                  <a:pt x="222" y="198"/>
                </a:lnTo>
                <a:lnTo>
                  <a:pt x="243" y="198"/>
                </a:lnTo>
                <a:lnTo>
                  <a:pt x="282" y="215"/>
                </a:lnTo>
                <a:lnTo>
                  <a:pt x="282" y="234"/>
                </a:lnTo>
                <a:lnTo>
                  <a:pt x="322" y="234"/>
                </a:lnTo>
                <a:lnTo>
                  <a:pt x="303" y="234"/>
                </a:lnTo>
                <a:lnTo>
                  <a:pt x="282" y="215"/>
                </a:lnTo>
                <a:lnTo>
                  <a:pt x="282" y="198"/>
                </a:lnTo>
                <a:lnTo>
                  <a:pt x="303" y="198"/>
                </a:lnTo>
                <a:lnTo>
                  <a:pt x="322" y="198"/>
                </a:lnTo>
                <a:lnTo>
                  <a:pt x="343" y="198"/>
                </a:lnTo>
                <a:lnTo>
                  <a:pt x="362" y="179"/>
                </a:lnTo>
                <a:lnTo>
                  <a:pt x="383" y="179"/>
                </a:lnTo>
                <a:lnTo>
                  <a:pt x="403" y="179"/>
                </a:lnTo>
                <a:lnTo>
                  <a:pt x="383" y="179"/>
                </a:lnTo>
                <a:lnTo>
                  <a:pt x="343" y="179"/>
                </a:lnTo>
                <a:lnTo>
                  <a:pt x="322" y="179"/>
                </a:lnTo>
                <a:lnTo>
                  <a:pt x="282" y="179"/>
                </a:lnTo>
                <a:lnTo>
                  <a:pt x="263" y="179"/>
                </a:lnTo>
                <a:lnTo>
                  <a:pt x="243" y="179"/>
                </a:lnTo>
                <a:lnTo>
                  <a:pt x="222" y="179"/>
                </a:lnTo>
                <a:lnTo>
                  <a:pt x="203" y="179"/>
                </a:lnTo>
                <a:lnTo>
                  <a:pt x="182" y="179"/>
                </a:lnTo>
                <a:lnTo>
                  <a:pt x="163" y="179"/>
                </a:lnTo>
                <a:lnTo>
                  <a:pt x="142" y="179"/>
                </a:lnTo>
                <a:lnTo>
                  <a:pt x="103" y="179"/>
                </a:lnTo>
                <a:lnTo>
                  <a:pt x="80" y="161"/>
                </a:lnTo>
                <a:lnTo>
                  <a:pt x="103" y="161"/>
                </a:lnTo>
                <a:lnTo>
                  <a:pt x="122" y="144"/>
                </a:lnTo>
                <a:lnTo>
                  <a:pt x="103" y="144"/>
                </a:lnTo>
                <a:lnTo>
                  <a:pt x="80" y="144"/>
                </a:lnTo>
                <a:lnTo>
                  <a:pt x="80" y="125"/>
                </a:lnTo>
                <a:lnTo>
                  <a:pt x="103" y="125"/>
                </a:lnTo>
                <a:lnTo>
                  <a:pt x="142" y="125"/>
                </a:lnTo>
                <a:lnTo>
                  <a:pt x="122" y="125"/>
                </a:lnTo>
                <a:lnTo>
                  <a:pt x="103" y="125"/>
                </a:lnTo>
                <a:lnTo>
                  <a:pt x="80" y="125"/>
                </a:lnTo>
                <a:lnTo>
                  <a:pt x="61" y="125"/>
                </a:lnTo>
                <a:lnTo>
                  <a:pt x="80" y="125"/>
                </a:lnTo>
                <a:lnTo>
                  <a:pt x="61" y="125"/>
                </a:lnTo>
                <a:lnTo>
                  <a:pt x="40" y="125"/>
                </a:lnTo>
                <a:lnTo>
                  <a:pt x="21" y="125"/>
                </a:lnTo>
                <a:lnTo>
                  <a:pt x="0" y="125"/>
                </a:lnTo>
                <a:lnTo>
                  <a:pt x="21" y="108"/>
                </a:lnTo>
                <a:lnTo>
                  <a:pt x="80" y="90"/>
                </a:lnTo>
                <a:lnTo>
                  <a:pt x="122" y="71"/>
                </a:lnTo>
                <a:lnTo>
                  <a:pt x="142" y="71"/>
                </a:lnTo>
                <a:lnTo>
                  <a:pt x="182" y="54"/>
                </a:lnTo>
                <a:lnTo>
                  <a:pt x="203" y="54"/>
                </a:lnTo>
                <a:lnTo>
                  <a:pt x="222" y="54"/>
                </a:lnTo>
                <a:lnTo>
                  <a:pt x="243" y="54"/>
                </a:lnTo>
                <a:lnTo>
                  <a:pt x="282" y="71"/>
                </a:lnTo>
                <a:lnTo>
                  <a:pt x="282" y="54"/>
                </a:lnTo>
                <a:lnTo>
                  <a:pt x="303" y="35"/>
                </a:lnTo>
                <a:lnTo>
                  <a:pt x="322" y="35"/>
                </a:lnTo>
                <a:lnTo>
                  <a:pt x="343" y="35"/>
                </a:lnTo>
                <a:lnTo>
                  <a:pt x="343" y="17"/>
                </a:lnTo>
                <a:lnTo>
                  <a:pt x="362" y="17"/>
                </a:lnTo>
                <a:lnTo>
                  <a:pt x="403" y="17"/>
                </a:lnTo>
                <a:lnTo>
                  <a:pt x="443" y="17"/>
                </a:lnTo>
                <a:lnTo>
                  <a:pt x="483" y="17"/>
                </a:lnTo>
                <a:lnTo>
                  <a:pt x="502" y="0"/>
                </a:lnTo>
                <a:lnTo>
                  <a:pt x="524" y="0"/>
                </a:lnTo>
                <a:lnTo>
                  <a:pt x="543" y="17"/>
                </a:lnTo>
                <a:lnTo>
                  <a:pt x="564" y="17"/>
                </a:lnTo>
                <a:lnTo>
                  <a:pt x="564" y="0"/>
                </a:lnTo>
                <a:lnTo>
                  <a:pt x="585" y="0"/>
                </a:lnTo>
                <a:lnTo>
                  <a:pt x="606" y="0"/>
                </a:lnTo>
                <a:lnTo>
                  <a:pt x="625" y="0"/>
                </a:lnTo>
                <a:lnTo>
                  <a:pt x="645" y="0"/>
                </a:lnTo>
                <a:lnTo>
                  <a:pt x="685" y="0"/>
                </a:lnTo>
                <a:lnTo>
                  <a:pt x="746" y="17"/>
                </a:lnTo>
                <a:lnTo>
                  <a:pt x="806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6" name="Freeform 132"/>
          <p:cNvSpPr>
            <a:spLocks/>
          </p:cNvSpPr>
          <p:nvPr/>
        </p:nvSpPr>
        <p:spPr bwMode="gray">
          <a:xfrm>
            <a:off x="2986088" y="2487613"/>
            <a:ext cx="71437" cy="39687"/>
          </a:xfrm>
          <a:custGeom>
            <a:avLst/>
            <a:gdLst>
              <a:gd name="T0" fmla="*/ 2525298 w 100"/>
              <a:gd name="T1" fmla="*/ 9466819 h 54"/>
              <a:gd name="T2" fmla="*/ 2525298 w 100"/>
              <a:gd name="T3" fmla="*/ 5785483 h 54"/>
              <a:gd name="T4" fmla="*/ 0 w 100"/>
              <a:gd name="T5" fmla="*/ 3155851 h 54"/>
              <a:gd name="T6" fmla="*/ 0 w 100"/>
              <a:gd name="T7" fmla="*/ 0 h 54"/>
              <a:gd name="T8" fmla="*/ 2525298 w 100"/>
              <a:gd name="T9" fmla="*/ 0 h 54"/>
              <a:gd name="T10" fmla="*/ 5051310 w 100"/>
              <a:gd name="T11" fmla="*/ 0 h 54"/>
              <a:gd name="T12" fmla="*/ 7071549 w 100"/>
              <a:gd name="T13" fmla="*/ 0 h 54"/>
              <a:gd name="T14" fmla="*/ 12122859 w 100"/>
              <a:gd name="T15" fmla="*/ 3155851 h 54"/>
              <a:gd name="T16" fmla="*/ 10102621 w 100"/>
              <a:gd name="T17" fmla="*/ 5785483 h 54"/>
              <a:gd name="T18" fmla="*/ 7071549 w 100"/>
              <a:gd name="T19" fmla="*/ 9466819 h 54"/>
              <a:gd name="T20" fmla="*/ 5051310 w 100"/>
              <a:gd name="T21" fmla="*/ 9466819 h 54"/>
              <a:gd name="T22" fmla="*/ 2525298 w 100"/>
              <a:gd name="T23" fmla="*/ 9466819 h 5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0"/>
              <a:gd name="T37" fmla="*/ 0 h 54"/>
              <a:gd name="T38" fmla="*/ 100 w 100"/>
              <a:gd name="T39" fmla="*/ 54 h 5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0" h="54">
                <a:moveTo>
                  <a:pt x="22" y="54"/>
                </a:moveTo>
                <a:lnTo>
                  <a:pt x="22" y="34"/>
                </a:lnTo>
                <a:lnTo>
                  <a:pt x="0" y="17"/>
                </a:lnTo>
                <a:lnTo>
                  <a:pt x="0" y="0"/>
                </a:lnTo>
                <a:lnTo>
                  <a:pt x="22" y="0"/>
                </a:lnTo>
                <a:lnTo>
                  <a:pt x="41" y="0"/>
                </a:lnTo>
                <a:lnTo>
                  <a:pt x="60" y="0"/>
                </a:lnTo>
                <a:lnTo>
                  <a:pt x="100" y="17"/>
                </a:lnTo>
                <a:lnTo>
                  <a:pt x="81" y="34"/>
                </a:lnTo>
                <a:lnTo>
                  <a:pt x="60" y="54"/>
                </a:lnTo>
                <a:lnTo>
                  <a:pt x="41" y="54"/>
                </a:lnTo>
                <a:lnTo>
                  <a:pt x="22" y="54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7" name="Freeform 133"/>
          <p:cNvSpPr>
            <a:spLocks/>
          </p:cNvSpPr>
          <p:nvPr/>
        </p:nvSpPr>
        <p:spPr bwMode="gray">
          <a:xfrm>
            <a:off x="573088" y="2449513"/>
            <a:ext cx="785812" cy="528637"/>
          </a:xfrm>
          <a:custGeom>
            <a:avLst/>
            <a:gdLst>
              <a:gd name="T0" fmla="*/ 91799606 w 1125"/>
              <a:gd name="T1" fmla="*/ 34842443 h 733"/>
              <a:gd name="T2" fmla="*/ 91799606 w 1125"/>
              <a:gd name="T3" fmla="*/ 78005330 h 733"/>
              <a:gd name="T4" fmla="*/ 98635821 w 1125"/>
              <a:gd name="T5" fmla="*/ 87365738 h 733"/>
              <a:gd name="T6" fmla="*/ 107913292 w 1125"/>
              <a:gd name="T7" fmla="*/ 93606251 h 733"/>
              <a:gd name="T8" fmla="*/ 114749507 w 1125"/>
              <a:gd name="T9" fmla="*/ 93606251 h 733"/>
              <a:gd name="T10" fmla="*/ 121585024 w 1125"/>
              <a:gd name="T11" fmla="*/ 108687190 h 733"/>
              <a:gd name="T12" fmla="*/ 128909490 w 1125"/>
              <a:gd name="T13" fmla="*/ 114927703 h 733"/>
              <a:gd name="T14" fmla="*/ 124515229 w 1125"/>
              <a:gd name="T15" fmla="*/ 121168216 h 733"/>
              <a:gd name="T16" fmla="*/ 119632019 w 1125"/>
              <a:gd name="T17" fmla="*/ 111807086 h 733"/>
              <a:gd name="T18" fmla="*/ 117679014 w 1125"/>
              <a:gd name="T19" fmla="*/ 105566573 h 733"/>
              <a:gd name="T20" fmla="*/ 114749507 w 1125"/>
              <a:gd name="T21" fmla="*/ 102966660 h 733"/>
              <a:gd name="T22" fmla="*/ 107913292 w 1125"/>
              <a:gd name="T23" fmla="*/ 99846764 h 733"/>
              <a:gd name="T24" fmla="*/ 98635821 w 1125"/>
              <a:gd name="T25" fmla="*/ 90485634 h 733"/>
              <a:gd name="T26" fmla="*/ 84963390 w 1125"/>
              <a:gd name="T27" fmla="*/ 90485634 h 733"/>
              <a:gd name="T28" fmla="*/ 71290960 w 1125"/>
              <a:gd name="T29" fmla="*/ 78005330 h 733"/>
              <a:gd name="T30" fmla="*/ 68849704 w 1125"/>
              <a:gd name="T31" fmla="*/ 84245121 h 733"/>
              <a:gd name="T32" fmla="*/ 52736018 w 1125"/>
              <a:gd name="T33" fmla="*/ 93606251 h 733"/>
              <a:gd name="T34" fmla="*/ 57618530 w 1125"/>
              <a:gd name="T35" fmla="*/ 84245121 h 733"/>
              <a:gd name="T36" fmla="*/ 50294063 w 1125"/>
              <a:gd name="T37" fmla="*/ 90485634 h 733"/>
              <a:gd name="T38" fmla="*/ 45899803 w 1125"/>
              <a:gd name="T39" fmla="*/ 102966660 h 733"/>
              <a:gd name="T40" fmla="*/ 39063588 w 1125"/>
              <a:gd name="T41" fmla="*/ 108687190 h 733"/>
              <a:gd name="T42" fmla="*/ 29786117 w 1125"/>
              <a:gd name="T43" fmla="*/ 118047599 h 733"/>
              <a:gd name="T44" fmla="*/ 14160681 w 1125"/>
              <a:gd name="T45" fmla="*/ 127408008 h 733"/>
              <a:gd name="T46" fmla="*/ 16113686 w 1125"/>
              <a:gd name="T47" fmla="*/ 121168216 h 733"/>
              <a:gd name="T48" fmla="*/ 22949901 w 1125"/>
              <a:gd name="T49" fmla="*/ 114927703 h 733"/>
              <a:gd name="T50" fmla="*/ 37110583 w 1125"/>
              <a:gd name="T51" fmla="*/ 102966660 h 733"/>
              <a:gd name="T52" fmla="*/ 37110583 w 1125"/>
              <a:gd name="T53" fmla="*/ 99846764 h 733"/>
              <a:gd name="T54" fmla="*/ 29786117 w 1125"/>
              <a:gd name="T55" fmla="*/ 96726147 h 733"/>
              <a:gd name="T56" fmla="*/ 22949901 w 1125"/>
              <a:gd name="T57" fmla="*/ 96726147 h 733"/>
              <a:gd name="T58" fmla="*/ 18554942 w 1125"/>
              <a:gd name="T59" fmla="*/ 93606251 h 733"/>
              <a:gd name="T60" fmla="*/ 9277471 w 1125"/>
              <a:gd name="T61" fmla="*/ 87365738 h 733"/>
              <a:gd name="T62" fmla="*/ 4394959 w 1125"/>
              <a:gd name="T63" fmla="*/ 78005330 h 733"/>
              <a:gd name="T64" fmla="*/ 16113686 w 1125"/>
              <a:gd name="T65" fmla="*/ 65004321 h 733"/>
              <a:gd name="T66" fmla="*/ 22949901 w 1125"/>
              <a:gd name="T67" fmla="*/ 56163895 h 733"/>
              <a:gd name="T68" fmla="*/ 16113686 w 1125"/>
              <a:gd name="T69" fmla="*/ 56163895 h 733"/>
              <a:gd name="T70" fmla="*/ 6836215 w 1125"/>
              <a:gd name="T71" fmla="*/ 56163895 h 733"/>
              <a:gd name="T72" fmla="*/ 0 w 1125"/>
              <a:gd name="T73" fmla="*/ 49403399 h 733"/>
              <a:gd name="T74" fmla="*/ 11230476 w 1125"/>
              <a:gd name="T75" fmla="*/ 40562973 h 733"/>
              <a:gd name="T76" fmla="*/ 18554942 w 1125"/>
              <a:gd name="T77" fmla="*/ 46282782 h 733"/>
              <a:gd name="T78" fmla="*/ 14160681 w 1125"/>
              <a:gd name="T79" fmla="*/ 37442356 h 733"/>
              <a:gd name="T80" fmla="*/ 4394959 w 1125"/>
              <a:gd name="T81" fmla="*/ 28081947 h 733"/>
              <a:gd name="T82" fmla="*/ 6836215 w 1125"/>
              <a:gd name="T83" fmla="*/ 21841435 h 733"/>
              <a:gd name="T84" fmla="*/ 20996897 w 1125"/>
              <a:gd name="T85" fmla="*/ 9360409 h 733"/>
              <a:gd name="T86" fmla="*/ 34180377 w 1125"/>
              <a:gd name="T87" fmla="*/ 3119896 h 733"/>
              <a:gd name="T88" fmla="*/ 41504844 w 1125"/>
              <a:gd name="T89" fmla="*/ 3119896 h 733"/>
              <a:gd name="T90" fmla="*/ 43458547 w 1125"/>
              <a:gd name="T91" fmla="*/ 3119896 h 733"/>
              <a:gd name="T92" fmla="*/ 52736018 w 1125"/>
              <a:gd name="T93" fmla="*/ 6240513 h 733"/>
              <a:gd name="T94" fmla="*/ 62013489 w 1125"/>
              <a:gd name="T95" fmla="*/ 9360409 h 733"/>
              <a:gd name="T96" fmla="*/ 80568431 w 1125"/>
              <a:gd name="T97" fmla="*/ 12481026 h 733"/>
              <a:gd name="T98" fmla="*/ 91799606 w 1125"/>
              <a:gd name="T99" fmla="*/ 12481026 h 73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125"/>
              <a:gd name="T151" fmla="*/ 0 h 733"/>
              <a:gd name="T152" fmla="*/ 1125 w 1125"/>
              <a:gd name="T153" fmla="*/ 733 h 733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125" h="733">
                <a:moveTo>
                  <a:pt x="803" y="88"/>
                </a:moveTo>
                <a:lnTo>
                  <a:pt x="803" y="108"/>
                </a:lnTo>
                <a:lnTo>
                  <a:pt x="803" y="144"/>
                </a:lnTo>
                <a:lnTo>
                  <a:pt x="803" y="198"/>
                </a:lnTo>
                <a:lnTo>
                  <a:pt x="803" y="267"/>
                </a:lnTo>
                <a:lnTo>
                  <a:pt x="803" y="321"/>
                </a:lnTo>
                <a:lnTo>
                  <a:pt x="803" y="374"/>
                </a:lnTo>
                <a:lnTo>
                  <a:pt x="803" y="447"/>
                </a:lnTo>
                <a:lnTo>
                  <a:pt x="803" y="465"/>
                </a:lnTo>
                <a:lnTo>
                  <a:pt x="803" y="484"/>
                </a:lnTo>
                <a:lnTo>
                  <a:pt x="843" y="501"/>
                </a:lnTo>
                <a:lnTo>
                  <a:pt x="862" y="501"/>
                </a:lnTo>
                <a:lnTo>
                  <a:pt x="883" y="518"/>
                </a:lnTo>
                <a:lnTo>
                  <a:pt x="902" y="538"/>
                </a:lnTo>
                <a:lnTo>
                  <a:pt x="922" y="538"/>
                </a:lnTo>
                <a:lnTo>
                  <a:pt x="943" y="538"/>
                </a:lnTo>
                <a:lnTo>
                  <a:pt x="943" y="518"/>
                </a:lnTo>
                <a:lnTo>
                  <a:pt x="964" y="518"/>
                </a:lnTo>
                <a:lnTo>
                  <a:pt x="985" y="518"/>
                </a:lnTo>
                <a:lnTo>
                  <a:pt x="1004" y="538"/>
                </a:lnTo>
                <a:lnTo>
                  <a:pt x="1044" y="574"/>
                </a:lnTo>
                <a:lnTo>
                  <a:pt x="1064" y="591"/>
                </a:lnTo>
                <a:lnTo>
                  <a:pt x="1064" y="607"/>
                </a:lnTo>
                <a:lnTo>
                  <a:pt x="1064" y="626"/>
                </a:lnTo>
                <a:lnTo>
                  <a:pt x="1085" y="626"/>
                </a:lnTo>
                <a:lnTo>
                  <a:pt x="1104" y="643"/>
                </a:lnTo>
                <a:lnTo>
                  <a:pt x="1125" y="643"/>
                </a:lnTo>
                <a:lnTo>
                  <a:pt x="1125" y="660"/>
                </a:lnTo>
                <a:lnTo>
                  <a:pt x="1125" y="680"/>
                </a:lnTo>
                <a:lnTo>
                  <a:pt x="1125" y="697"/>
                </a:lnTo>
                <a:lnTo>
                  <a:pt x="1104" y="697"/>
                </a:lnTo>
                <a:lnTo>
                  <a:pt x="1085" y="697"/>
                </a:lnTo>
                <a:lnTo>
                  <a:pt x="1064" y="680"/>
                </a:lnTo>
                <a:lnTo>
                  <a:pt x="1064" y="660"/>
                </a:lnTo>
                <a:lnTo>
                  <a:pt x="1064" y="643"/>
                </a:lnTo>
                <a:lnTo>
                  <a:pt x="1044" y="643"/>
                </a:lnTo>
                <a:lnTo>
                  <a:pt x="1025" y="626"/>
                </a:lnTo>
                <a:lnTo>
                  <a:pt x="1044" y="626"/>
                </a:lnTo>
                <a:lnTo>
                  <a:pt x="1044" y="607"/>
                </a:lnTo>
                <a:lnTo>
                  <a:pt x="1025" y="607"/>
                </a:lnTo>
                <a:lnTo>
                  <a:pt x="1025" y="626"/>
                </a:lnTo>
                <a:lnTo>
                  <a:pt x="1004" y="626"/>
                </a:lnTo>
                <a:lnTo>
                  <a:pt x="1004" y="607"/>
                </a:lnTo>
                <a:lnTo>
                  <a:pt x="1004" y="591"/>
                </a:lnTo>
                <a:lnTo>
                  <a:pt x="1004" y="574"/>
                </a:lnTo>
                <a:lnTo>
                  <a:pt x="985" y="574"/>
                </a:lnTo>
                <a:lnTo>
                  <a:pt x="964" y="574"/>
                </a:lnTo>
                <a:lnTo>
                  <a:pt x="943" y="574"/>
                </a:lnTo>
                <a:lnTo>
                  <a:pt x="922" y="574"/>
                </a:lnTo>
                <a:lnTo>
                  <a:pt x="902" y="555"/>
                </a:lnTo>
                <a:lnTo>
                  <a:pt x="883" y="538"/>
                </a:lnTo>
                <a:lnTo>
                  <a:pt x="862" y="518"/>
                </a:lnTo>
                <a:lnTo>
                  <a:pt x="822" y="518"/>
                </a:lnTo>
                <a:lnTo>
                  <a:pt x="803" y="518"/>
                </a:lnTo>
                <a:lnTo>
                  <a:pt x="781" y="518"/>
                </a:lnTo>
                <a:lnTo>
                  <a:pt x="743" y="518"/>
                </a:lnTo>
                <a:lnTo>
                  <a:pt x="722" y="518"/>
                </a:lnTo>
                <a:lnTo>
                  <a:pt x="682" y="501"/>
                </a:lnTo>
                <a:lnTo>
                  <a:pt x="662" y="484"/>
                </a:lnTo>
                <a:lnTo>
                  <a:pt x="622" y="447"/>
                </a:lnTo>
                <a:lnTo>
                  <a:pt x="603" y="465"/>
                </a:lnTo>
                <a:lnTo>
                  <a:pt x="582" y="465"/>
                </a:lnTo>
                <a:lnTo>
                  <a:pt x="582" y="484"/>
                </a:lnTo>
                <a:lnTo>
                  <a:pt x="603" y="484"/>
                </a:lnTo>
                <a:lnTo>
                  <a:pt x="563" y="518"/>
                </a:lnTo>
                <a:lnTo>
                  <a:pt x="522" y="538"/>
                </a:lnTo>
                <a:lnTo>
                  <a:pt x="482" y="538"/>
                </a:lnTo>
                <a:lnTo>
                  <a:pt x="461" y="538"/>
                </a:lnTo>
                <a:lnTo>
                  <a:pt x="461" y="518"/>
                </a:lnTo>
                <a:lnTo>
                  <a:pt x="482" y="518"/>
                </a:lnTo>
                <a:lnTo>
                  <a:pt x="482" y="501"/>
                </a:lnTo>
                <a:lnTo>
                  <a:pt x="503" y="484"/>
                </a:lnTo>
                <a:lnTo>
                  <a:pt x="522" y="465"/>
                </a:lnTo>
                <a:lnTo>
                  <a:pt x="522" y="447"/>
                </a:lnTo>
                <a:lnTo>
                  <a:pt x="482" y="465"/>
                </a:lnTo>
                <a:lnTo>
                  <a:pt x="440" y="518"/>
                </a:lnTo>
                <a:lnTo>
                  <a:pt x="421" y="555"/>
                </a:lnTo>
                <a:lnTo>
                  <a:pt x="421" y="574"/>
                </a:lnTo>
                <a:lnTo>
                  <a:pt x="401" y="574"/>
                </a:lnTo>
                <a:lnTo>
                  <a:pt x="401" y="591"/>
                </a:lnTo>
                <a:lnTo>
                  <a:pt x="361" y="591"/>
                </a:lnTo>
                <a:lnTo>
                  <a:pt x="361" y="607"/>
                </a:lnTo>
                <a:lnTo>
                  <a:pt x="340" y="607"/>
                </a:lnTo>
                <a:lnTo>
                  <a:pt x="340" y="626"/>
                </a:lnTo>
                <a:lnTo>
                  <a:pt x="321" y="626"/>
                </a:lnTo>
                <a:lnTo>
                  <a:pt x="280" y="643"/>
                </a:lnTo>
                <a:lnTo>
                  <a:pt x="261" y="660"/>
                </a:lnTo>
                <a:lnTo>
                  <a:pt x="261" y="680"/>
                </a:lnTo>
                <a:lnTo>
                  <a:pt x="200" y="697"/>
                </a:lnTo>
                <a:lnTo>
                  <a:pt x="181" y="697"/>
                </a:lnTo>
                <a:lnTo>
                  <a:pt x="140" y="714"/>
                </a:lnTo>
                <a:lnTo>
                  <a:pt x="121" y="733"/>
                </a:lnTo>
                <a:lnTo>
                  <a:pt x="60" y="733"/>
                </a:lnTo>
                <a:lnTo>
                  <a:pt x="81" y="714"/>
                </a:lnTo>
                <a:lnTo>
                  <a:pt x="121" y="714"/>
                </a:lnTo>
                <a:lnTo>
                  <a:pt x="140" y="697"/>
                </a:lnTo>
                <a:lnTo>
                  <a:pt x="161" y="680"/>
                </a:lnTo>
                <a:lnTo>
                  <a:pt x="181" y="680"/>
                </a:lnTo>
                <a:lnTo>
                  <a:pt x="200" y="680"/>
                </a:lnTo>
                <a:lnTo>
                  <a:pt x="200" y="660"/>
                </a:lnTo>
                <a:lnTo>
                  <a:pt x="240" y="643"/>
                </a:lnTo>
                <a:lnTo>
                  <a:pt x="261" y="626"/>
                </a:lnTo>
                <a:lnTo>
                  <a:pt x="300" y="607"/>
                </a:lnTo>
                <a:lnTo>
                  <a:pt x="321" y="591"/>
                </a:lnTo>
                <a:lnTo>
                  <a:pt x="321" y="574"/>
                </a:lnTo>
                <a:lnTo>
                  <a:pt x="340" y="555"/>
                </a:lnTo>
                <a:lnTo>
                  <a:pt x="321" y="555"/>
                </a:lnTo>
                <a:lnTo>
                  <a:pt x="321" y="574"/>
                </a:lnTo>
                <a:lnTo>
                  <a:pt x="300" y="574"/>
                </a:lnTo>
                <a:lnTo>
                  <a:pt x="280" y="574"/>
                </a:lnTo>
                <a:lnTo>
                  <a:pt x="261" y="574"/>
                </a:lnTo>
                <a:lnTo>
                  <a:pt x="261" y="555"/>
                </a:lnTo>
                <a:lnTo>
                  <a:pt x="261" y="574"/>
                </a:lnTo>
                <a:lnTo>
                  <a:pt x="240" y="574"/>
                </a:lnTo>
                <a:lnTo>
                  <a:pt x="221" y="555"/>
                </a:lnTo>
                <a:lnTo>
                  <a:pt x="200" y="555"/>
                </a:lnTo>
                <a:lnTo>
                  <a:pt x="200" y="574"/>
                </a:lnTo>
                <a:lnTo>
                  <a:pt x="181" y="574"/>
                </a:lnTo>
                <a:lnTo>
                  <a:pt x="161" y="555"/>
                </a:lnTo>
                <a:lnTo>
                  <a:pt x="161" y="538"/>
                </a:lnTo>
                <a:lnTo>
                  <a:pt x="161" y="518"/>
                </a:lnTo>
                <a:lnTo>
                  <a:pt x="140" y="518"/>
                </a:lnTo>
                <a:lnTo>
                  <a:pt x="121" y="518"/>
                </a:lnTo>
                <a:lnTo>
                  <a:pt x="81" y="501"/>
                </a:lnTo>
                <a:lnTo>
                  <a:pt x="60" y="484"/>
                </a:lnTo>
                <a:lnTo>
                  <a:pt x="81" y="484"/>
                </a:lnTo>
                <a:lnTo>
                  <a:pt x="60" y="465"/>
                </a:lnTo>
                <a:lnTo>
                  <a:pt x="40" y="447"/>
                </a:lnTo>
                <a:lnTo>
                  <a:pt x="60" y="411"/>
                </a:lnTo>
                <a:lnTo>
                  <a:pt x="81" y="394"/>
                </a:lnTo>
                <a:lnTo>
                  <a:pt x="121" y="394"/>
                </a:lnTo>
                <a:lnTo>
                  <a:pt x="140" y="374"/>
                </a:lnTo>
                <a:lnTo>
                  <a:pt x="181" y="357"/>
                </a:lnTo>
                <a:lnTo>
                  <a:pt x="200" y="340"/>
                </a:lnTo>
                <a:lnTo>
                  <a:pt x="181" y="321"/>
                </a:lnTo>
                <a:lnTo>
                  <a:pt x="200" y="321"/>
                </a:lnTo>
                <a:lnTo>
                  <a:pt x="200" y="303"/>
                </a:lnTo>
                <a:lnTo>
                  <a:pt x="181" y="303"/>
                </a:lnTo>
                <a:lnTo>
                  <a:pt x="161" y="303"/>
                </a:lnTo>
                <a:lnTo>
                  <a:pt x="140" y="321"/>
                </a:lnTo>
                <a:lnTo>
                  <a:pt x="121" y="321"/>
                </a:lnTo>
                <a:lnTo>
                  <a:pt x="100" y="321"/>
                </a:lnTo>
                <a:lnTo>
                  <a:pt x="81" y="321"/>
                </a:lnTo>
                <a:lnTo>
                  <a:pt x="60" y="321"/>
                </a:lnTo>
                <a:lnTo>
                  <a:pt x="40" y="321"/>
                </a:lnTo>
                <a:lnTo>
                  <a:pt x="21" y="303"/>
                </a:lnTo>
                <a:lnTo>
                  <a:pt x="21" y="286"/>
                </a:lnTo>
                <a:lnTo>
                  <a:pt x="0" y="286"/>
                </a:lnTo>
                <a:lnTo>
                  <a:pt x="21" y="267"/>
                </a:lnTo>
                <a:lnTo>
                  <a:pt x="60" y="250"/>
                </a:lnTo>
                <a:lnTo>
                  <a:pt x="81" y="232"/>
                </a:lnTo>
                <a:lnTo>
                  <a:pt x="100" y="232"/>
                </a:lnTo>
                <a:lnTo>
                  <a:pt x="121" y="250"/>
                </a:lnTo>
                <a:lnTo>
                  <a:pt x="121" y="267"/>
                </a:lnTo>
                <a:lnTo>
                  <a:pt x="140" y="267"/>
                </a:lnTo>
                <a:lnTo>
                  <a:pt x="161" y="267"/>
                </a:lnTo>
                <a:lnTo>
                  <a:pt x="181" y="267"/>
                </a:lnTo>
                <a:lnTo>
                  <a:pt x="161" y="232"/>
                </a:lnTo>
                <a:lnTo>
                  <a:pt x="140" y="232"/>
                </a:lnTo>
                <a:lnTo>
                  <a:pt x="121" y="215"/>
                </a:lnTo>
                <a:lnTo>
                  <a:pt x="100" y="198"/>
                </a:lnTo>
                <a:lnTo>
                  <a:pt x="81" y="179"/>
                </a:lnTo>
                <a:lnTo>
                  <a:pt x="60" y="179"/>
                </a:lnTo>
                <a:lnTo>
                  <a:pt x="40" y="161"/>
                </a:lnTo>
                <a:lnTo>
                  <a:pt x="21" y="161"/>
                </a:lnTo>
                <a:lnTo>
                  <a:pt x="21" y="144"/>
                </a:lnTo>
                <a:lnTo>
                  <a:pt x="40" y="125"/>
                </a:lnTo>
                <a:lnTo>
                  <a:pt x="60" y="125"/>
                </a:lnTo>
                <a:lnTo>
                  <a:pt x="81" y="125"/>
                </a:lnTo>
                <a:lnTo>
                  <a:pt x="100" y="125"/>
                </a:lnTo>
                <a:lnTo>
                  <a:pt x="121" y="88"/>
                </a:lnTo>
                <a:lnTo>
                  <a:pt x="181" y="54"/>
                </a:lnTo>
                <a:lnTo>
                  <a:pt x="240" y="35"/>
                </a:lnTo>
                <a:lnTo>
                  <a:pt x="261" y="35"/>
                </a:lnTo>
                <a:lnTo>
                  <a:pt x="280" y="35"/>
                </a:lnTo>
                <a:lnTo>
                  <a:pt x="300" y="17"/>
                </a:lnTo>
                <a:lnTo>
                  <a:pt x="300" y="0"/>
                </a:lnTo>
                <a:lnTo>
                  <a:pt x="321" y="0"/>
                </a:lnTo>
                <a:lnTo>
                  <a:pt x="340" y="17"/>
                </a:lnTo>
                <a:lnTo>
                  <a:pt x="361" y="17"/>
                </a:lnTo>
                <a:lnTo>
                  <a:pt x="340" y="17"/>
                </a:lnTo>
                <a:lnTo>
                  <a:pt x="340" y="35"/>
                </a:lnTo>
                <a:lnTo>
                  <a:pt x="361" y="35"/>
                </a:lnTo>
                <a:lnTo>
                  <a:pt x="380" y="17"/>
                </a:lnTo>
                <a:lnTo>
                  <a:pt x="401" y="17"/>
                </a:lnTo>
                <a:lnTo>
                  <a:pt x="401" y="35"/>
                </a:lnTo>
                <a:lnTo>
                  <a:pt x="440" y="35"/>
                </a:lnTo>
                <a:lnTo>
                  <a:pt x="461" y="35"/>
                </a:lnTo>
                <a:lnTo>
                  <a:pt x="461" y="54"/>
                </a:lnTo>
                <a:lnTo>
                  <a:pt x="482" y="54"/>
                </a:lnTo>
                <a:lnTo>
                  <a:pt x="522" y="54"/>
                </a:lnTo>
                <a:lnTo>
                  <a:pt x="541" y="54"/>
                </a:lnTo>
                <a:lnTo>
                  <a:pt x="582" y="54"/>
                </a:lnTo>
                <a:lnTo>
                  <a:pt x="603" y="54"/>
                </a:lnTo>
                <a:lnTo>
                  <a:pt x="662" y="71"/>
                </a:lnTo>
                <a:lnTo>
                  <a:pt x="703" y="71"/>
                </a:lnTo>
                <a:lnTo>
                  <a:pt x="722" y="71"/>
                </a:lnTo>
                <a:lnTo>
                  <a:pt x="743" y="54"/>
                </a:lnTo>
                <a:lnTo>
                  <a:pt x="781" y="71"/>
                </a:lnTo>
                <a:lnTo>
                  <a:pt x="803" y="71"/>
                </a:lnTo>
                <a:lnTo>
                  <a:pt x="803" y="8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8" name="Freeform 134"/>
          <p:cNvSpPr>
            <a:spLocks/>
          </p:cNvSpPr>
          <p:nvPr/>
        </p:nvSpPr>
        <p:spPr bwMode="gray">
          <a:xfrm>
            <a:off x="2284413" y="2641600"/>
            <a:ext cx="168275" cy="77788"/>
          </a:xfrm>
          <a:custGeom>
            <a:avLst/>
            <a:gdLst>
              <a:gd name="T0" fmla="*/ 2465930 w 240"/>
              <a:gd name="T1" fmla="*/ 12603110 h 107"/>
              <a:gd name="T2" fmla="*/ 4932561 w 240"/>
              <a:gd name="T3" fmla="*/ 12603110 h 107"/>
              <a:gd name="T4" fmla="*/ 4932561 w 240"/>
              <a:gd name="T5" fmla="*/ 9452332 h 107"/>
              <a:gd name="T6" fmla="*/ 4932561 w 240"/>
              <a:gd name="T7" fmla="*/ 6301555 h 107"/>
              <a:gd name="T8" fmla="*/ 4932561 w 240"/>
              <a:gd name="T9" fmla="*/ 3150777 h 107"/>
              <a:gd name="T10" fmla="*/ 6905585 w 240"/>
              <a:gd name="T11" fmla="*/ 3150777 h 107"/>
              <a:gd name="T12" fmla="*/ 6905585 w 240"/>
              <a:gd name="T13" fmla="*/ 0 h 107"/>
              <a:gd name="T14" fmla="*/ 9371515 w 240"/>
              <a:gd name="T15" fmla="*/ 3150777 h 107"/>
              <a:gd name="T16" fmla="*/ 11344540 w 240"/>
              <a:gd name="T17" fmla="*/ 3150777 h 107"/>
              <a:gd name="T18" fmla="*/ 16277101 w 240"/>
              <a:gd name="T19" fmla="*/ 3150777 h 107"/>
              <a:gd name="T20" fmla="*/ 18743030 w 240"/>
              <a:gd name="T21" fmla="*/ 3150777 h 107"/>
              <a:gd name="T22" fmla="*/ 21208960 w 240"/>
              <a:gd name="T23" fmla="*/ 6301555 h 107"/>
              <a:gd name="T24" fmla="*/ 21208960 w 240"/>
              <a:gd name="T25" fmla="*/ 9452332 h 107"/>
              <a:gd name="T26" fmla="*/ 23181985 w 240"/>
              <a:gd name="T27" fmla="*/ 9452332 h 107"/>
              <a:gd name="T28" fmla="*/ 23181985 w 240"/>
              <a:gd name="T29" fmla="*/ 12603110 h 107"/>
              <a:gd name="T30" fmla="*/ 25647915 w 240"/>
              <a:gd name="T31" fmla="*/ 12603110 h 107"/>
              <a:gd name="T32" fmla="*/ 28114546 w 240"/>
              <a:gd name="T33" fmla="*/ 12603110 h 107"/>
              <a:gd name="T34" fmla="*/ 25647915 w 240"/>
              <a:gd name="T35" fmla="*/ 12603110 h 107"/>
              <a:gd name="T36" fmla="*/ 23181985 w 240"/>
              <a:gd name="T37" fmla="*/ 12603110 h 107"/>
              <a:gd name="T38" fmla="*/ 21208960 w 240"/>
              <a:gd name="T39" fmla="*/ 12603110 h 107"/>
              <a:gd name="T40" fmla="*/ 18743030 w 240"/>
              <a:gd name="T41" fmla="*/ 12603110 h 107"/>
              <a:gd name="T42" fmla="*/ 16277101 w 240"/>
              <a:gd name="T43" fmla="*/ 12603110 h 107"/>
              <a:gd name="T44" fmla="*/ 14304076 w 240"/>
              <a:gd name="T45" fmla="*/ 12603110 h 107"/>
              <a:gd name="T46" fmla="*/ 11344540 w 240"/>
              <a:gd name="T47" fmla="*/ 15753887 h 107"/>
              <a:gd name="T48" fmla="*/ 6905585 w 240"/>
              <a:gd name="T49" fmla="*/ 15753887 h 107"/>
              <a:gd name="T50" fmla="*/ 6905585 w 240"/>
              <a:gd name="T51" fmla="*/ 18903938 h 107"/>
              <a:gd name="T52" fmla="*/ 6905585 w 240"/>
              <a:gd name="T53" fmla="*/ 15753887 h 107"/>
              <a:gd name="T54" fmla="*/ 6905585 w 240"/>
              <a:gd name="T55" fmla="*/ 12603110 h 107"/>
              <a:gd name="T56" fmla="*/ 4932561 w 240"/>
              <a:gd name="T57" fmla="*/ 12603110 h 107"/>
              <a:gd name="T58" fmla="*/ 2465930 w 240"/>
              <a:gd name="T59" fmla="*/ 12603110 h 107"/>
              <a:gd name="T60" fmla="*/ 0 w 240"/>
              <a:gd name="T61" fmla="*/ 12603110 h 107"/>
              <a:gd name="T62" fmla="*/ 2465930 w 240"/>
              <a:gd name="T63" fmla="*/ 12603110 h 10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40"/>
              <a:gd name="T97" fmla="*/ 0 h 107"/>
              <a:gd name="T98" fmla="*/ 240 w 240"/>
              <a:gd name="T99" fmla="*/ 107 h 10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40" h="107">
                <a:moveTo>
                  <a:pt x="21" y="73"/>
                </a:moveTo>
                <a:lnTo>
                  <a:pt x="40" y="73"/>
                </a:lnTo>
                <a:lnTo>
                  <a:pt x="40" y="54"/>
                </a:lnTo>
                <a:lnTo>
                  <a:pt x="40" y="36"/>
                </a:lnTo>
                <a:lnTo>
                  <a:pt x="40" y="19"/>
                </a:lnTo>
                <a:lnTo>
                  <a:pt x="59" y="19"/>
                </a:lnTo>
                <a:lnTo>
                  <a:pt x="59" y="0"/>
                </a:lnTo>
                <a:lnTo>
                  <a:pt x="80" y="19"/>
                </a:lnTo>
                <a:lnTo>
                  <a:pt x="99" y="19"/>
                </a:lnTo>
                <a:lnTo>
                  <a:pt x="140" y="19"/>
                </a:lnTo>
                <a:lnTo>
                  <a:pt x="161" y="19"/>
                </a:lnTo>
                <a:lnTo>
                  <a:pt x="180" y="36"/>
                </a:lnTo>
                <a:lnTo>
                  <a:pt x="180" y="54"/>
                </a:lnTo>
                <a:lnTo>
                  <a:pt x="199" y="54"/>
                </a:lnTo>
                <a:lnTo>
                  <a:pt x="199" y="73"/>
                </a:lnTo>
                <a:lnTo>
                  <a:pt x="220" y="73"/>
                </a:lnTo>
                <a:lnTo>
                  <a:pt x="240" y="73"/>
                </a:lnTo>
                <a:lnTo>
                  <a:pt x="220" y="73"/>
                </a:lnTo>
                <a:lnTo>
                  <a:pt x="199" y="73"/>
                </a:lnTo>
                <a:lnTo>
                  <a:pt x="180" y="73"/>
                </a:lnTo>
                <a:lnTo>
                  <a:pt x="161" y="73"/>
                </a:lnTo>
                <a:lnTo>
                  <a:pt x="140" y="73"/>
                </a:lnTo>
                <a:lnTo>
                  <a:pt x="121" y="73"/>
                </a:lnTo>
                <a:lnTo>
                  <a:pt x="99" y="90"/>
                </a:lnTo>
                <a:lnTo>
                  <a:pt x="59" y="90"/>
                </a:lnTo>
                <a:lnTo>
                  <a:pt x="59" y="107"/>
                </a:lnTo>
                <a:lnTo>
                  <a:pt x="59" y="90"/>
                </a:lnTo>
                <a:lnTo>
                  <a:pt x="59" y="73"/>
                </a:lnTo>
                <a:lnTo>
                  <a:pt x="40" y="73"/>
                </a:lnTo>
                <a:lnTo>
                  <a:pt x="21" y="73"/>
                </a:lnTo>
                <a:lnTo>
                  <a:pt x="0" y="73"/>
                </a:lnTo>
                <a:lnTo>
                  <a:pt x="21" y="73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29" name="Freeform 135"/>
          <p:cNvSpPr>
            <a:spLocks/>
          </p:cNvSpPr>
          <p:nvPr/>
        </p:nvSpPr>
        <p:spPr bwMode="gray">
          <a:xfrm>
            <a:off x="2524125" y="2566988"/>
            <a:ext cx="42863" cy="25400"/>
          </a:xfrm>
          <a:custGeom>
            <a:avLst/>
            <a:gdLst>
              <a:gd name="T0" fmla="*/ 7240390 w 62"/>
              <a:gd name="T1" fmla="*/ 2312773 h 37"/>
              <a:gd name="T2" fmla="*/ 2413463 w 62"/>
              <a:gd name="T3" fmla="*/ 5088238 h 37"/>
              <a:gd name="T4" fmla="*/ 0 w 62"/>
              <a:gd name="T5" fmla="*/ 5088238 h 37"/>
              <a:gd name="T6" fmla="*/ 0 w 62"/>
              <a:gd name="T7" fmla="*/ 2312773 h 37"/>
              <a:gd name="T8" fmla="*/ 0 w 62"/>
              <a:gd name="T9" fmla="*/ 0 h 37"/>
              <a:gd name="T10" fmla="*/ 4826927 w 62"/>
              <a:gd name="T11" fmla="*/ 0 h 37"/>
              <a:gd name="T12" fmla="*/ 7240390 w 62"/>
              <a:gd name="T13" fmla="*/ 2312773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2"/>
              <a:gd name="T22" fmla="*/ 0 h 37"/>
              <a:gd name="T23" fmla="*/ 62 w 62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2" h="37">
                <a:moveTo>
                  <a:pt x="62" y="18"/>
                </a:moveTo>
                <a:lnTo>
                  <a:pt x="21" y="37"/>
                </a:lnTo>
                <a:lnTo>
                  <a:pt x="0" y="37"/>
                </a:lnTo>
                <a:lnTo>
                  <a:pt x="0" y="18"/>
                </a:lnTo>
                <a:lnTo>
                  <a:pt x="0" y="0"/>
                </a:lnTo>
                <a:lnTo>
                  <a:pt x="41" y="0"/>
                </a:lnTo>
                <a:lnTo>
                  <a:pt x="62" y="1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0" name="Freeform 136"/>
          <p:cNvSpPr>
            <a:spLocks/>
          </p:cNvSpPr>
          <p:nvPr/>
        </p:nvSpPr>
        <p:spPr bwMode="gray">
          <a:xfrm>
            <a:off x="2382838" y="2719388"/>
            <a:ext cx="30162" cy="25400"/>
          </a:xfrm>
          <a:custGeom>
            <a:avLst/>
            <a:gdLst>
              <a:gd name="T0" fmla="*/ 0 w 40"/>
              <a:gd name="T1" fmla="*/ 0 h 37"/>
              <a:gd name="T2" fmla="*/ 3427157 w 40"/>
              <a:gd name="T3" fmla="*/ 0 h 37"/>
              <a:gd name="T4" fmla="*/ 6283499 w 40"/>
              <a:gd name="T5" fmla="*/ 0 h 37"/>
              <a:gd name="T6" fmla="*/ 6283499 w 40"/>
              <a:gd name="T7" fmla="*/ 2914135 h 37"/>
              <a:gd name="T8" fmla="*/ 3427157 w 40"/>
              <a:gd name="T9" fmla="*/ 2914135 h 37"/>
              <a:gd name="T10" fmla="*/ 0 w 40"/>
              <a:gd name="T11" fmla="*/ 2914135 h 37"/>
              <a:gd name="T12" fmla="*/ 0 w 40"/>
              <a:gd name="T13" fmla="*/ 5828270 h 37"/>
              <a:gd name="T14" fmla="*/ 0 w 40"/>
              <a:gd name="T15" fmla="*/ 2914135 h 37"/>
              <a:gd name="T16" fmla="*/ 0 w 40"/>
              <a:gd name="T17" fmla="*/ 0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37"/>
              <a:gd name="T29" fmla="*/ 40 w 40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37">
                <a:moveTo>
                  <a:pt x="0" y="0"/>
                </a:moveTo>
                <a:lnTo>
                  <a:pt x="21" y="0"/>
                </a:lnTo>
                <a:lnTo>
                  <a:pt x="40" y="0"/>
                </a:lnTo>
                <a:lnTo>
                  <a:pt x="40" y="20"/>
                </a:lnTo>
                <a:lnTo>
                  <a:pt x="21" y="20"/>
                </a:lnTo>
                <a:lnTo>
                  <a:pt x="0" y="20"/>
                </a:lnTo>
                <a:lnTo>
                  <a:pt x="0" y="37"/>
                </a:lnTo>
                <a:lnTo>
                  <a:pt x="0" y="2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1" name="Freeform 137"/>
          <p:cNvSpPr>
            <a:spLocks/>
          </p:cNvSpPr>
          <p:nvPr/>
        </p:nvSpPr>
        <p:spPr bwMode="gray">
          <a:xfrm>
            <a:off x="2438400" y="2733675"/>
            <a:ext cx="28575" cy="26988"/>
          </a:xfrm>
          <a:custGeom>
            <a:avLst/>
            <a:gdLst>
              <a:gd name="T0" fmla="*/ 4905840 w 41"/>
              <a:gd name="T1" fmla="*/ 3270796 h 36"/>
              <a:gd name="T2" fmla="*/ 4905840 w 41"/>
              <a:gd name="T3" fmla="*/ 6541591 h 36"/>
              <a:gd name="T4" fmla="*/ 2453268 w 41"/>
              <a:gd name="T5" fmla="*/ 6541591 h 36"/>
              <a:gd name="T6" fmla="*/ 0 w 41"/>
              <a:gd name="T7" fmla="*/ 6541591 h 36"/>
              <a:gd name="T8" fmla="*/ 0 w 41"/>
              <a:gd name="T9" fmla="*/ 3270796 h 36"/>
              <a:gd name="T10" fmla="*/ 2453268 w 41"/>
              <a:gd name="T11" fmla="*/ 0 h 36"/>
              <a:gd name="T12" fmla="*/ 4905840 w 41"/>
              <a:gd name="T13" fmla="*/ 3270796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36"/>
              <a:gd name="T23" fmla="*/ 41 w 41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36">
                <a:moveTo>
                  <a:pt x="41" y="17"/>
                </a:moveTo>
                <a:lnTo>
                  <a:pt x="41" y="36"/>
                </a:lnTo>
                <a:lnTo>
                  <a:pt x="20" y="36"/>
                </a:lnTo>
                <a:lnTo>
                  <a:pt x="0" y="36"/>
                </a:lnTo>
                <a:lnTo>
                  <a:pt x="0" y="17"/>
                </a:lnTo>
                <a:lnTo>
                  <a:pt x="20" y="0"/>
                </a:lnTo>
                <a:lnTo>
                  <a:pt x="41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2" name="Freeform 138"/>
          <p:cNvSpPr>
            <a:spLocks/>
          </p:cNvSpPr>
          <p:nvPr/>
        </p:nvSpPr>
        <p:spPr bwMode="gray">
          <a:xfrm>
            <a:off x="2566988" y="2566988"/>
            <a:ext cx="28575" cy="11112"/>
          </a:xfrm>
          <a:custGeom>
            <a:avLst/>
            <a:gdLst>
              <a:gd name="T0" fmla="*/ 2577465 w 40"/>
              <a:gd name="T1" fmla="*/ 1923611 h 18"/>
              <a:gd name="T2" fmla="*/ 0 w 40"/>
              <a:gd name="T3" fmla="*/ 1923611 h 18"/>
              <a:gd name="T4" fmla="*/ 0 w 40"/>
              <a:gd name="T5" fmla="*/ 0 h 18"/>
              <a:gd name="T6" fmla="*/ 2577465 w 40"/>
              <a:gd name="T7" fmla="*/ 0 h 18"/>
              <a:gd name="T8" fmla="*/ 5154216 w 40"/>
              <a:gd name="T9" fmla="*/ 1923611 h 18"/>
              <a:gd name="T10" fmla="*/ 2577465 w 40"/>
              <a:gd name="T11" fmla="*/ 1923611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18"/>
              <a:gd name="T20" fmla="*/ 40 w 40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18">
                <a:moveTo>
                  <a:pt x="19" y="18"/>
                </a:moveTo>
                <a:lnTo>
                  <a:pt x="0" y="18"/>
                </a:lnTo>
                <a:lnTo>
                  <a:pt x="0" y="0"/>
                </a:lnTo>
                <a:lnTo>
                  <a:pt x="19" y="0"/>
                </a:lnTo>
                <a:lnTo>
                  <a:pt x="40" y="18"/>
                </a:lnTo>
                <a:lnTo>
                  <a:pt x="19" y="1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3" name="Freeform 139"/>
          <p:cNvSpPr>
            <a:spLocks/>
          </p:cNvSpPr>
          <p:nvPr/>
        </p:nvSpPr>
        <p:spPr bwMode="gray">
          <a:xfrm>
            <a:off x="2466975" y="2527300"/>
            <a:ext cx="12700" cy="0"/>
          </a:xfrm>
          <a:custGeom>
            <a:avLst/>
            <a:gdLst>
              <a:gd name="T0" fmla="*/ 0 w 19"/>
              <a:gd name="T1" fmla="*/ 1218532 w 19"/>
              <a:gd name="T2" fmla="*/ 0 w 19"/>
              <a:gd name="T3" fmla="*/ 0 60000 65536"/>
              <a:gd name="T4" fmla="*/ 0 60000 65536"/>
              <a:gd name="T5" fmla="*/ 0 60000 65536"/>
              <a:gd name="T6" fmla="*/ 0 w 19"/>
              <a:gd name="T7" fmla="*/ 19 w 19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19">
                <a:moveTo>
                  <a:pt x="0" y="0"/>
                </a:moveTo>
                <a:lnTo>
                  <a:pt x="19" y="0"/>
                </a:lnTo>
                <a:lnTo>
                  <a:pt x="0" y="0"/>
                </a:lnTo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4" name="Freeform 140"/>
          <p:cNvSpPr>
            <a:spLocks/>
          </p:cNvSpPr>
          <p:nvPr/>
        </p:nvSpPr>
        <p:spPr bwMode="gray">
          <a:xfrm>
            <a:off x="2228850" y="2360613"/>
            <a:ext cx="631825" cy="400050"/>
          </a:xfrm>
          <a:custGeom>
            <a:avLst/>
            <a:gdLst>
              <a:gd name="T0" fmla="*/ 94799610 w 904"/>
              <a:gd name="T1" fmla="*/ 71717792 h 555"/>
              <a:gd name="T2" fmla="*/ 83071708 w 904"/>
              <a:gd name="T3" fmla="*/ 61843405 h 555"/>
              <a:gd name="T4" fmla="*/ 83071708 w 904"/>
              <a:gd name="T5" fmla="*/ 65481337 h 555"/>
              <a:gd name="T6" fmla="*/ 83071708 w 904"/>
              <a:gd name="T7" fmla="*/ 68079860 h 555"/>
              <a:gd name="T8" fmla="*/ 87470021 w 904"/>
              <a:gd name="T9" fmla="*/ 71717792 h 555"/>
              <a:gd name="T10" fmla="*/ 92356880 w 904"/>
              <a:gd name="T11" fmla="*/ 74316315 h 555"/>
              <a:gd name="T12" fmla="*/ 92356880 w 904"/>
              <a:gd name="T13" fmla="*/ 83670998 h 555"/>
              <a:gd name="T14" fmla="*/ 87470021 w 904"/>
              <a:gd name="T15" fmla="*/ 86789226 h 555"/>
              <a:gd name="T16" fmla="*/ 80628977 w 904"/>
              <a:gd name="T17" fmla="*/ 86789226 h 555"/>
              <a:gd name="T18" fmla="*/ 85515137 w 904"/>
              <a:gd name="T19" fmla="*/ 96663613 h 555"/>
              <a:gd name="T20" fmla="*/ 78674094 w 904"/>
              <a:gd name="T21" fmla="*/ 90427158 h 555"/>
              <a:gd name="T22" fmla="*/ 66946192 w 904"/>
              <a:gd name="T23" fmla="*/ 86789226 h 555"/>
              <a:gd name="T24" fmla="*/ 60105149 w 904"/>
              <a:gd name="T25" fmla="*/ 77434543 h 555"/>
              <a:gd name="T26" fmla="*/ 53264106 w 904"/>
              <a:gd name="T27" fmla="*/ 74316315 h 555"/>
              <a:gd name="T28" fmla="*/ 43979633 w 904"/>
              <a:gd name="T29" fmla="*/ 74316315 h 555"/>
              <a:gd name="T30" fmla="*/ 48377247 w 904"/>
              <a:gd name="T31" fmla="*/ 71717792 h 555"/>
              <a:gd name="T32" fmla="*/ 55218290 w 904"/>
              <a:gd name="T33" fmla="*/ 71717792 h 555"/>
              <a:gd name="T34" fmla="*/ 57661719 w 904"/>
              <a:gd name="T35" fmla="*/ 68079860 h 555"/>
              <a:gd name="T36" fmla="*/ 57661719 w 904"/>
              <a:gd name="T37" fmla="*/ 61843405 h 555"/>
              <a:gd name="T38" fmla="*/ 62548578 w 904"/>
              <a:gd name="T39" fmla="*/ 59245603 h 555"/>
              <a:gd name="T40" fmla="*/ 57661719 w 904"/>
              <a:gd name="T41" fmla="*/ 43654465 h 555"/>
              <a:gd name="T42" fmla="*/ 50820676 w 904"/>
              <a:gd name="T43" fmla="*/ 43654465 h 555"/>
              <a:gd name="T44" fmla="*/ 50820676 w 904"/>
              <a:gd name="T45" fmla="*/ 40536238 h 555"/>
              <a:gd name="T46" fmla="*/ 41536203 w 904"/>
              <a:gd name="T47" fmla="*/ 31181555 h 555"/>
              <a:gd name="T48" fmla="*/ 37137891 w 904"/>
              <a:gd name="T49" fmla="*/ 36898305 h 555"/>
              <a:gd name="T50" fmla="*/ 29808301 w 904"/>
              <a:gd name="T51" fmla="*/ 31181555 h 555"/>
              <a:gd name="T52" fmla="*/ 16125516 w 904"/>
              <a:gd name="T53" fmla="*/ 31181555 h 555"/>
              <a:gd name="T54" fmla="*/ 9284473 w 904"/>
              <a:gd name="T55" fmla="*/ 31181555 h 555"/>
              <a:gd name="T56" fmla="*/ 1954883 w 904"/>
              <a:gd name="T57" fmla="*/ 24425395 h 555"/>
              <a:gd name="T58" fmla="*/ 9284473 w 904"/>
              <a:gd name="T59" fmla="*/ 24425395 h 555"/>
              <a:gd name="T60" fmla="*/ 1954883 w 904"/>
              <a:gd name="T61" fmla="*/ 21826872 h 555"/>
              <a:gd name="T62" fmla="*/ 1954883 w 904"/>
              <a:gd name="T63" fmla="*/ 11953206 h 555"/>
              <a:gd name="T64" fmla="*/ 7329589 w 904"/>
              <a:gd name="T65" fmla="*/ 0 h 555"/>
              <a:gd name="T66" fmla="*/ 16125516 w 904"/>
              <a:gd name="T67" fmla="*/ 0 h 555"/>
              <a:gd name="T68" fmla="*/ 11727902 w 904"/>
              <a:gd name="T69" fmla="*/ 8834978 h 555"/>
              <a:gd name="T70" fmla="*/ 14171332 w 904"/>
              <a:gd name="T71" fmla="*/ 15071433 h 555"/>
              <a:gd name="T72" fmla="*/ 16125516 w 904"/>
              <a:gd name="T73" fmla="*/ 8834978 h 555"/>
              <a:gd name="T74" fmla="*/ 29808301 w 904"/>
              <a:gd name="T75" fmla="*/ 0 h 555"/>
              <a:gd name="T76" fmla="*/ 34694461 w 904"/>
              <a:gd name="T77" fmla="*/ 11953206 h 555"/>
              <a:gd name="T78" fmla="*/ 41536203 w 904"/>
              <a:gd name="T79" fmla="*/ 11953206 h 555"/>
              <a:gd name="T80" fmla="*/ 48377247 w 904"/>
              <a:gd name="T81" fmla="*/ 8834978 h 555"/>
              <a:gd name="T82" fmla="*/ 55218290 w 904"/>
              <a:gd name="T83" fmla="*/ 15071433 h 555"/>
              <a:gd name="T84" fmla="*/ 64502763 w 904"/>
              <a:gd name="T85" fmla="*/ 21826872 h 555"/>
              <a:gd name="T86" fmla="*/ 71344505 w 904"/>
              <a:gd name="T87" fmla="*/ 24425395 h 555"/>
              <a:gd name="T88" fmla="*/ 78674094 w 904"/>
              <a:gd name="T89" fmla="*/ 31181555 h 555"/>
              <a:gd name="T90" fmla="*/ 85515137 w 904"/>
              <a:gd name="T91" fmla="*/ 33780078 h 555"/>
              <a:gd name="T92" fmla="*/ 78674094 w 904"/>
              <a:gd name="T93" fmla="*/ 36898305 h 555"/>
              <a:gd name="T94" fmla="*/ 85515137 w 904"/>
              <a:gd name="T95" fmla="*/ 36898305 h 555"/>
              <a:gd name="T96" fmla="*/ 80628977 w 904"/>
              <a:gd name="T97" fmla="*/ 43654465 h 555"/>
              <a:gd name="T98" fmla="*/ 85515137 w 904"/>
              <a:gd name="T99" fmla="*/ 46772693 h 555"/>
              <a:gd name="T100" fmla="*/ 92356880 w 904"/>
              <a:gd name="T101" fmla="*/ 53009148 h 555"/>
              <a:gd name="T102" fmla="*/ 96754493 w 904"/>
              <a:gd name="T103" fmla="*/ 56127375 h 555"/>
              <a:gd name="T104" fmla="*/ 101641352 w 904"/>
              <a:gd name="T105" fmla="*/ 61843405 h 555"/>
              <a:gd name="T106" fmla="*/ 101641352 w 904"/>
              <a:gd name="T107" fmla="*/ 65481337 h 555"/>
              <a:gd name="T108" fmla="*/ 96754493 w 904"/>
              <a:gd name="T109" fmla="*/ 68079860 h 55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904"/>
              <a:gd name="T166" fmla="*/ 0 h 555"/>
              <a:gd name="T167" fmla="*/ 904 w 904"/>
              <a:gd name="T168" fmla="*/ 555 h 55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904" h="555">
                <a:moveTo>
                  <a:pt x="845" y="392"/>
                </a:moveTo>
                <a:lnTo>
                  <a:pt x="845" y="411"/>
                </a:lnTo>
                <a:lnTo>
                  <a:pt x="825" y="411"/>
                </a:lnTo>
                <a:lnTo>
                  <a:pt x="785" y="411"/>
                </a:lnTo>
                <a:lnTo>
                  <a:pt x="764" y="375"/>
                </a:lnTo>
                <a:lnTo>
                  <a:pt x="724" y="357"/>
                </a:lnTo>
                <a:lnTo>
                  <a:pt x="704" y="357"/>
                </a:lnTo>
                <a:lnTo>
                  <a:pt x="704" y="375"/>
                </a:lnTo>
                <a:lnTo>
                  <a:pt x="724" y="375"/>
                </a:lnTo>
                <a:lnTo>
                  <a:pt x="704" y="375"/>
                </a:lnTo>
                <a:lnTo>
                  <a:pt x="704" y="392"/>
                </a:lnTo>
                <a:lnTo>
                  <a:pt x="724" y="392"/>
                </a:lnTo>
                <a:lnTo>
                  <a:pt x="724" y="411"/>
                </a:lnTo>
                <a:lnTo>
                  <a:pt x="745" y="411"/>
                </a:lnTo>
                <a:lnTo>
                  <a:pt x="764" y="411"/>
                </a:lnTo>
                <a:lnTo>
                  <a:pt x="764" y="428"/>
                </a:lnTo>
                <a:lnTo>
                  <a:pt x="785" y="428"/>
                </a:lnTo>
                <a:lnTo>
                  <a:pt x="804" y="428"/>
                </a:lnTo>
                <a:lnTo>
                  <a:pt x="804" y="446"/>
                </a:lnTo>
                <a:lnTo>
                  <a:pt x="804" y="465"/>
                </a:lnTo>
                <a:lnTo>
                  <a:pt x="804" y="482"/>
                </a:lnTo>
                <a:lnTo>
                  <a:pt x="804" y="499"/>
                </a:lnTo>
                <a:lnTo>
                  <a:pt x="804" y="519"/>
                </a:lnTo>
                <a:lnTo>
                  <a:pt x="764" y="499"/>
                </a:lnTo>
                <a:lnTo>
                  <a:pt x="724" y="482"/>
                </a:lnTo>
                <a:lnTo>
                  <a:pt x="685" y="465"/>
                </a:lnTo>
                <a:lnTo>
                  <a:pt x="704" y="499"/>
                </a:lnTo>
                <a:lnTo>
                  <a:pt x="745" y="519"/>
                </a:lnTo>
                <a:lnTo>
                  <a:pt x="745" y="536"/>
                </a:lnTo>
                <a:lnTo>
                  <a:pt x="745" y="555"/>
                </a:lnTo>
                <a:lnTo>
                  <a:pt x="745" y="536"/>
                </a:lnTo>
                <a:lnTo>
                  <a:pt x="704" y="519"/>
                </a:lnTo>
                <a:lnTo>
                  <a:pt x="685" y="519"/>
                </a:lnTo>
                <a:lnTo>
                  <a:pt x="664" y="519"/>
                </a:lnTo>
                <a:lnTo>
                  <a:pt x="605" y="519"/>
                </a:lnTo>
                <a:lnTo>
                  <a:pt x="584" y="499"/>
                </a:lnTo>
                <a:lnTo>
                  <a:pt x="584" y="465"/>
                </a:lnTo>
                <a:lnTo>
                  <a:pt x="545" y="465"/>
                </a:lnTo>
                <a:lnTo>
                  <a:pt x="524" y="446"/>
                </a:lnTo>
                <a:lnTo>
                  <a:pt x="482" y="428"/>
                </a:lnTo>
                <a:lnTo>
                  <a:pt x="482" y="446"/>
                </a:lnTo>
                <a:lnTo>
                  <a:pt x="463" y="428"/>
                </a:lnTo>
                <a:lnTo>
                  <a:pt x="441" y="428"/>
                </a:lnTo>
                <a:lnTo>
                  <a:pt x="422" y="446"/>
                </a:lnTo>
                <a:lnTo>
                  <a:pt x="382" y="428"/>
                </a:lnTo>
                <a:lnTo>
                  <a:pt x="382" y="411"/>
                </a:lnTo>
                <a:lnTo>
                  <a:pt x="401" y="411"/>
                </a:lnTo>
                <a:lnTo>
                  <a:pt x="422" y="411"/>
                </a:lnTo>
                <a:lnTo>
                  <a:pt x="441" y="411"/>
                </a:lnTo>
                <a:lnTo>
                  <a:pt x="463" y="411"/>
                </a:lnTo>
                <a:lnTo>
                  <a:pt x="482" y="411"/>
                </a:lnTo>
                <a:lnTo>
                  <a:pt x="503" y="411"/>
                </a:lnTo>
                <a:lnTo>
                  <a:pt x="524" y="392"/>
                </a:lnTo>
                <a:lnTo>
                  <a:pt x="503" y="392"/>
                </a:lnTo>
                <a:lnTo>
                  <a:pt x="503" y="375"/>
                </a:lnTo>
                <a:lnTo>
                  <a:pt x="482" y="375"/>
                </a:lnTo>
                <a:lnTo>
                  <a:pt x="503" y="357"/>
                </a:lnTo>
                <a:lnTo>
                  <a:pt x="524" y="357"/>
                </a:lnTo>
                <a:lnTo>
                  <a:pt x="545" y="357"/>
                </a:lnTo>
                <a:lnTo>
                  <a:pt x="545" y="340"/>
                </a:lnTo>
                <a:lnTo>
                  <a:pt x="545" y="323"/>
                </a:lnTo>
                <a:lnTo>
                  <a:pt x="545" y="286"/>
                </a:lnTo>
                <a:lnTo>
                  <a:pt x="503" y="250"/>
                </a:lnTo>
                <a:lnTo>
                  <a:pt x="463" y="233"/>
                </a:lnTo>
                <a:lnTo>
                  <a:pt x="463" y="250"/>
                </a:lnTo>
                <a:lnTo>
                  <a:pt x="441" y="250"/>
                </a:lnTo>
                <a:lnTo>
                  <a:pt x="422" y="250"/>
                </a:lnTo>
                <a:lnTo>
                  <a:pt x="422" y="233"/>
                </a:lnTo>
                <a:lnTo>
                  <a:pt x="441" y="233"/>
                </a:lnTo>
                <a:lnTo>
                  <a:pt x="422" y="213"/>
                </a:lnTo>
                <a:lnTo>
                  <a:pt x="401" y="179"/>
                </a:lnTo>
                <a:lnTo>
                  <a:pt x="363" y="179"/>
                </a:lnTo>
                <a:lnTo>
                  <a:pt x="342" y="179"/>
                </a:lnTo>
                <a:lnTo>
                  <a:pt x="342" y="196"/>
                </a:lnTo>
                <a:lnTo>
                  <a:pt x="322" y="213"/>
                </a:lnTo>
                <a:lnTo>
                  <a:pt x="301" y="213"/>
                </a:lnTo>
                <a:lnTo>
                  <a:pt x="301" y="196"/>
                </a:lnTo>
                <a:lnTo>
                  <a:pt x="261" y="179"/>
                </a:lnTo>
                <a:lnTo>
                  <a:pt x="202" y="196"/>
                </a:lnTo>
                <a:lnTo>
                  <a:pt x="142" y="196"/>
                </a:lnTo>
                <a:lnTo>
                  <a:pt x="142" y="179"/>
                </a:lnTo>
                <a:lnTo>
                  <a:pt x="121" y="179"/>
                </a:lnTo>
                <a:lnTo>
                  <a:pt x="102" y="179"/>
                </a:lnTo>
                <a:lnTo>
                  <a:pt x="81" y="179"/>
                </a:lnTo>
                <a:lnTo>
                  <a:pt x="61" y="179"/>
                </a:lnTo>
                <a:lnTo>
                  <a:pt x="42" y="160"/>
                </a:lnTo>
                <a:lnTo>
                  <a:pt x="19" y="142"/>
                </a:lnTo>
                <a:lnTo>
                  <a:pt x="42" y="142"/>
                </a:lnTo>
                <a:lnTo>
                  <a:pt x="61" y="142"/>
                </a:lnTo>
                <a:lnTo>
                  <a:pt x="81" y="142"/>
                </a:lnTo>
                <a:lnTo>
                  <a:pt x="81" y="125"/>
                </a:lnTo>
                <a:lnTo>
                  <a:pt x="61" y="125"/>
                </a:lnTo>
                <a:lnTo>
                  <a:pt x="19" y="125"/>
                </a:lnTo>
                <a:lnTo>
                  <a:pt x="19" y="106"/>
                </a:lnTo>
                <a:lnTo>
                  <a:pt x="0" y="106"/>
                </a:lnTo>
                <a:lnTo>
                  <a:pt x="19" y="69"/>
                </a:lnTo>
                <a:lnTo>
                  <a:pt x="19" y="52"/>
                </a:lnTo>
                <a:lnTo>
                  <a:pt x="19" y="35"/>
                </a:lnTo>
                <a:lnTo>
                  <a:pt x="61" y="0"/>
                </a:lnTo>
                <a:lnTo>
                  <a:pt x="81" y="0"/>
                </a:lnTo>
                <a:lnTo>
                  <a:pt x="121" y="0"/>
                </a:lnTo>
                <a:lnTo>
                  <a:pt x="142" y="0"/>
                </a:lnTo>
                <a:lnTo>
                  <a:pt x="142" y="16"/>
                </a:lnTo>
                <a:lnTo>
                  <a:pt x="121" y="35"/>
                </a:lnTo>
                <a:lnTo>
                  <a:pt x="102" y="52"/>
                </a:lnTo>
                <a:lnTo>
                  <a:pt x="102" y="69"/>
                </a:lnTo>
                <a:lnTo>
                  <a:pt x="121" y="69"/>
                </a:lnTo>
                <a:lnTo>
                  <a:pt x="121" y="89"/>
                </a:lnTo>
                <a:lnTo>
                  <a:pt x="142" y="89"/>
                </a:lnTo>
                <a:lnTo>
                  <a:pt x="142" y="69"/>
                </a:lnTo>
                <a:lnTo>
                  <a:pt x="142" y="52"/>
                </a:lnTo>
                <a:lnTo>
                  <a:pt x="161" y="16"/>
                </a:lnTo>
                <a:lnTo>
                  <a:pt x="221" y="0"/>
                </a:lnTo>
                <a:lnTo>
                  <a:pt x="261" y="0"/>
                </a:lnTo>
                <a:lnTo>
                  <a:pt x="282" y="0"/>
                </a:lnTo>
                <a:lnTo>
                  <a:pt x="282" y="35"/>
                </a:lnTo>
                <a:lnTo>
                  <a:pt x="301" y="69"/>
                </a:lnTo>
                <a:lnTo>
                  <a:pt x="322" y="69"/>
                </a:lnTo>
                <a:lnTo>
                  <a:pt x="342" y="69"/>
                </a:lnTo>
                <a:lnTo>
                  <a:pt x="363" y="69"/>
                </a:lnTo>
                <a:lnTo>
                  <a:pt x="382" y="69"/>
                </a:lnTo>
                <a:lnTo>
                  <a:pt x="401" y="52"/>
                </a:lnTo>
                <a:lnTo>
                  <a:pt x="422" y="52"/>
                </a:lnTo>
                <a:lnTo>
                  <a:pt x="441" y="69"/>
                </a:lnTo>
                <a:lnTo>
                  <a:pt x="482" y="69"/>
                </a:lnTo>
                <a:lnTo>
                  <a:pt x="482" y="89"/>
                </a:lnTo>
                <a:lnTo>
                  <a:pt x="503" y="106"/>
                </a:lnTo>
                <a:lnTo>
                  <a:pt x="545" y="125"/>
                </a:lnTo>
                <a:lnTo>
                  <a:pt x="564" y="125"/>
                </a:lnTo>
                <a:lnTo>
                  <a:pt x="584" y="125"/>
                </a:lnTo>
                <a:lnTo>
                  <a:pt x="605" y="125"/>
                </a:lnTo>
                <a:lnTo>
                  <a:pt x="624" y="142"/>
                </a:lnTo>
                <a:lnTo>
                  <a:pt x="664" y="160"/>
                </a:lnTo>
                <a:lnTo>
                  <a:pt x="685" y="160"/>
                </a:lnTo>
                <a:lnTo>
                  <a:pt x="685" y="179"/>
                </a:lnTo>
                <a:lnTo>
                  <a:pt x="704" y="179"/>
                </a:lnTo>
                <a:lnTo>
                  <a:pt x="724" y="179"/>
                </a:lnTo>
                <a:lnTo>
                  <a:pt x="745" y="196"/>
                </a:lnTo>
                <a:lnTo>
                  <a:pt x="724" y="196"/>
                </a:lnTo>
                <a:lnTo>
                  <a:pt x="704" y="213"/>
                </a:lnTo>
                <a:lnTo>
                  <a:pt x="685" y="213"/>
                </a:lnTo>
                <a:lnTo>
                  <a:pt x="704" y="213"/>
                </a:lnTo>
                <a:lnTo>
                  <a:pt x="724" y="213"/>
                </a:lnTo>
                <a:lnTo>
                  <a:pt x="745" y="213"/>
                </a:lnTo>
                <a:lnTo>
                  <a:pt x="745" y="233"/>
                </a:lnTo>
                <a:lnTo>
                  <a:pt x="724" y="233"/>
                </a:lnTo>
                <a:lnTo>
                  <a:pt x="704" y="250"/>
                </a:lnTo>
                <a:lnTo>
                  <a:pt x="724" y="250"/>
                </a:lnTo>
                <a:lnTo>
                  <a:pt x="745" y="250"/>
                </a:lnTo>
                <a:lnTo>
                  <a:pt x="745" y="269"/>
                </a:lnTo>
                <a:lnTo>
                  <a:pt x="764" y="286"/>
                </a:lnTo>
                <a:lnTo>
                  <a:pt x="785" y="304"/>
                </a:lnTo>
                <a:lnTo>
                  <a:pt x="804" y="304"/>
                </a:lnTo>
                <a:lnTo>
                  <a:pt x="804" y="323"/>
                </a:lnTo>
                <a:lnTo>
                  <a:pt x="825" y="323"/>
                </a:lnTo>
                <a:lnTo>
                  <a:pt x="845" y="323"/>
                </a:lnTo>
                <a:lnTo>
                  <a:pt x="866" y="340"/>
                </a:lnTo>
                <a:lnTo>
                  <a:pt x="885" y="340"/>
                </a:lnTo>
                <a:lnTo>
                  <a:pt x="885" y="357"/>
                </a:lnTo>
                <a:lnTo>
                  <a:pt x="904" y="357"/>
                </a:lnTo>
                <a:lnTo>
                  <a:pt x="885" y="357"/>
                </a:lnTo>
                <a:lnTo>
                  <a:pt x="885" y="375"/>
                </a:lnTo>
                <a:lnTo>
                  <a:pt x="885" y="392"/>
                </a:lnTo>
                <a:lnTo>
                  <a:pt x="866" y="392"/>
                </a:lnTo>
                <a:lnTo>
                  <a:pt x="845" y="392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5" name="Freeform 141"/>
          <p:cNvSpPr>
            <a:spLocks/>
          </p:cNvSpPr>
          <p:nvPr/>
        </p:nvSpPr>
        <p:spPr bwMode="gray">
          <a:xfrm>
            <a:off x="2479675" y="2693988"/>
            <a:ext cx="31750" cy="14287"/>
          </a:xfrm>
          <a:custGeom>
            <a:avLst/>
            <a:gdLst>
              <a:gd name="T0" fmla="*/ 6856488 w 42"/>
              <a:gd name="T1" fmla="*/ 4744965 h 17"/>
              <a:gd name="T2" fmla="*/ 3428244 w 42"/>
              <a:gd name="T3" fmla="*/ 4744965 h 17"/>
              <a:gd name="T4" fmla="*/ 0 w 42"/>
              <a:gd name="T5" fmla="*/ 4744965 h 17"/>
              <a:gd name="T6" fmla="*/ 3428244 w 42"/>
              <a:gd name="T7" fmla="*/ 0 h 17"/>
              <a:gd name="T8" fmla="*/ 3428244 w 42"/>
              <a:gd name="T9" fmla="*/ 4744965 h 17"/>
              <a:gd name="T10" fmla="*/ 6856488 w 42"/>
              <a:gd name="T11" fmla="*/ 4744965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2"/>
              <a:gd name="T19" fmla="*/ 0 h 17"/>
              <a:gd name="T20" fmla="*/ 42 w 42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2" h="17">
                <a:moveTo>
                  <a:pt x="42" y="17"/>
                </a:moveTo>
                <a:lnTo>
                  <a:pt x="21" y="17"/>
                </a:lnTo>
                <a:lnTo>
                  <a:pt x="0" y="17"/>
                </a:lnTo>
                <a:lnTo>
                  <a:pt x="21" y="0"/>
                </a:lnTo>
                <a:lnTo>
                  <a:pt x="21" y="17"/>
                </a:lnTo>
                <a:lnTo>
                  <a:pt x="42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6" name="Freeform 142"/>
          <p:cNvSpPr>
            <a:spLocks/>
          </p:cNvSpPr>
          <p:nvPr/>
        </p:nvSpPr>
        <p:spPr bwMode="gray">
          <a:xfrm>
            <a:off x="2354263" y="2628900"/>
            <a:ext cx="28575" cy="12700"/>
          </a:xfrm>
          <a:custGeom>
            <a:avLst/>
            <a:gdLst>
              <a:gd name="T0" fmla="*/ 0 w 41"/>
              <a:gd name="T1" fmla="*/ 0 h 17"/>
              <a:gd name="T2" fmla="*/ 2330605 w 41"/>
              <a:gd name="T3" fmla="*/ 0 h 17"/>
              <a:gd name="T4" fmla="*/ 4194252 w 41"/>
              <a:gd name="T5" fmla="*/ 3286312 h 17"/>
              <a:gd name="T6" fmla="*/ 2330605 w 41"/>
              <a:gd name="T7" fmla="*/ 3286312 h 17"/>
              <a:gd name="T8" fmla="*/ 0 w 41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17"/>
              <a:gd name="T17" fmla="*/ 41 w 41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17">
                <a:moveTo>
                  <a:pt x="0" y="0"/>
                </a:moveTo>
                <a:lnTo>
                  <a:pt x="22" y="0"/>
                </a:lnTo>
                <a:lnTo>
                  <a:pt x="41" y="17"/>
                </a:lnTo>
                <a:lnTo>
                  <a:pt x="22" y="17"/>
                </a:lnTo>
                <a:lnTo>
                  <a:pt x="0" y="0"/>
                </a:lnTo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7" name="Freeform 143"/>
          <p:cNvSpPr>
            <a:spLocks/>
          </p:cNvSpPr>
          <p:nvPr/>
        </p:nvSpPr>
        <p:spPr bwMode="gray">
          <a:xfrm>
            <a:off x="2184400" y="1933575"/>
            <a:ext cx="676275" cy="322263"/>
          </a:xfrm>
          <a:custGeom>
            <a:avLst/>
            <a:gdLst>
              <a:gd name="T0" fmla="*/ 88959246 w 965"/>
              <a:gd name="T1" fmla="*/ 6248442 h 447"/>
              <a:gd name="T2" fmla="*/ 100263901 w 965"/>
              <a:gd name="T3" fmla="*/ 3124581 h 447"/>
              <a:gd name="T4" fmla="*/ 110093365 w 965"/>
              <a:gd name="T5" fmla="*/ 9373023 h 447"/>
              <a:gd name="T6" fmla="*/ 110093365 w 965"/>
              <a:gd name="T7" fmla="*/ 12497604 h 447"/>
              <a:gd name="T8" fmla="*/ 91416962 w 965"/>
              <a:gd name="T9" fmla="*/ 21870627 h 447"/>
              <a:gd name="T10" fmla="*/ 100263901 w 965"/>
              <a:gd name="T11" fmla="*/ 21870627 h 447"/>
              <a:gd name="T12" fmla="*/ 86502230 w 965"/>
              <a:gd name="T13" fmla="*/ 31243650 h 447"/>
              <a:gd name="T14" fmla="*/ 74706312 w 965"/>
              <a:gd name="T15" fmla="*/ 41137917 h 447"/>
              <a:gd name="T16" fmla="*/ 67825126 w 965"/>
              <a:gd name="T17" fmla="*/ 41137917 h 447"/>
              <a:gd name="T18" fmla="*/ 62910394 w 965"/>
              <a:gd name="T19" fmla="*/ 46865836 h 447"/>
              <a:gd name="T20" fmla="*/ 62910394 w 965"/>
              <a:gd name="T21" fmla="*/ 53114277 h 447"/>
              <a:gd name="T22" fmla="*/ 56029909 w 965"/>
              <a:gd name="T23" fmla="*/ 62487300 h 447"/>
              <a:gd name="T24" fmla="*/ 51115177 w 965"/>
              <a:gd name="T25" fmla="*/ 65611882 h 447"/>
              <a:gd name="T26" fmla="*/ 49148724 w 965"/>
              <a:gd name="T27" fmla="*/ 71861044 h 447"/>
              <a:gd name="T28" fmla="*/ 46691708 w 965"/>
              <a:gd name="T29" fmla="*/ 78109486 h 447"/>
              <a:gd name="T30" fmla="*/ 37353507 w 965"/>
              <a:gd name="T31" fmla="*/ 74984905 h 447"/>
              <a:gd name="T32" fmla="*/ 25557589 w 965"/>
              <a:gd name="T33" fmla="*/ 74984905 h 447"/>
              <a:gd name="T34" fmla="*/ 21134119 w 965"/>
              <a:gd name="T35" fmla="*/ 78109486 h 447"/>
              <a:gd name="T36" fmla="*/ 9338201 w 965"/>
              <a:gd name="T37" fmla="*/ 74984905 h 447"/>
              <a:gd name="T38" fmla="*/ 18676403 w 965"/>
              <a:gd name="T39" fmla="*/ 68736463 h 447"/>
              <a:gd name="T40" fmla="*/ 16710650 w 965"/>
              <a:gd name="T41" fmla="*/ 62487300 h 447"/>
              <a:gd name="T42" fmla="*/ 25557589 w 965"/>
              <a:gd name="T43" fmla="*/ 65611882 h 447"/>
              <a:gd name="T44" fmla="*/ 23591135 w 965"/>
              <a:gd name="T45" fmla="*/ 62487300 h 447"/>
              <a:gd name="T46" fmla="*/ 18676403 w 965"/>
              <a:gd name="T47" fmla="*/ 59363440 h 447"/>
              <a:gd name="T48" fmla="*/ 16710650 w 965"/>
              <a:gd name="T49" fmla="*/ 53114277 h 447"/>
              <a:gd name="T50" fmla="*/ 23591135 w 965"/>
              <a:gd name="T51" fmla="*/ 53114277 h 447"/>
              <a:gd name="T52" fmla="*/ 25557589 w 965"/>
              <a:gd name="T53" fmla="*/ 41137917 h 447"/>
              <a:gd name="T54" fmla="*/ 21134119 w 965"/>
              <a:gd name="T55" fmla="*/ 37492813 h 447"/>
              <a:gd name="T56" fmla="*/ 21134119 w 965"/>
              <a:gd name="T57" fmla="*/ 34888755 h 447"/>
              <a:gd name="T58" fmla="*/ 28014604 w 965"/>
              <a:gd name="T59" fmla="*/ 34888755 h 447"/>
              <a:gd name="T60" fmla="*/ 37353507 w 965"/>
              <a:gd name="T61" fmla="*/ 41137917 h 447"/>
              <a:gd name="T62" fmla="*/ 32930037 w 965"/>
              <a:gd name="T63" fmla="*/ 34888755 h 447"/>
              <a:gd name="T64" fmla="*/ 39810522 w 965"/>
              <a:gd name="T65" fmla="*/ 34888755 h 447"/>
              <a:gd name="T66" fmla="*/ 46691708 w 965"/>
              <a:gd name="T67" fmla="*/ 31243650 h 447"/>
              <a:gd name="T68" fmla="*/ 37353507 w 965"/>
              <a:gd name="T69" fmla="*/ 31243650 h 447"/>
              <a:gd name="T70" fmla="*/ 28014604 w 965"/>
              <a:gd name="T71" fmla="*/ 31243650 h 447"/>
              <a:gd name="T72" fmla="*/ 21134119 w 965"/>
              <a:gd name="T73" fmla="*/ 31243650 h 447"/>
              <a:gd name="T74" fmla="*/ 11795918 w 965"/>
              <a:gd name="T75" fmla="*/ 31243650 h 447"/>
              <a:gd name="T76" fmla="*/ 14252934 w 965"/>
              <a:gd name="T77" fmla="*/ 24995209 h 447"/>
              <a:gd name="T78" fmla="*/ 9338201 w 965"/>
              <a:gd name="T79" fmla="*/ 21870627 h 447"/>
              <a:gd name="T80" fmla="*/ 14252934 w 965"/>
              <a:gd name="T81" fmla="*/ 21870627 h 447"/>
              <a:gd name="T82" fmla="*/ 7372449 w 965"/>
              <a:gd name="T83" fmla="*/ 21870627 h 447"/>
              <a:gd name="T84" fmla="*/ 4423469 w 965"/>
              <a:gd name="T85" fmla="*/ 21870627 h 447"/>
              <a:gd name="T86" fmla="*/ 2457717 w 965"/>
              <a:gd name="T87" fmla="*/ 19267290 h 447"/>
              <a:gd name="T88" fmla="*/ 16710650 w 965"/>
              <a:gd name="T89" fmla="*/ 12497604 h 447"/>
              <a:gd name="T90" fmla="*/ 25557589 w 965"/>
              <a:gd name="T91" fmla="*/ 9373023 h 447"/>
              <a:gd name="T92" fmla="*/ 32930037 w 965"/>
              <a:gd name="T93" fmla="*/ 9373023 h 447"/>
              <a:gd name="T94" fmla="*/ 39810522 w 965"/>
              <a:gd name="T95" fmla="*/ 6248442 h 447"/>
              <a:gd name="T96" fmla="*/ 46691708 w 965"/>
              <a:gd name="T97" fmla="*/ 3124581 h 447"/>
              <a:gd name="T98" fmla="*/ 58486925 w 965"/>
              <a:gd name="T99" fmla="*/ 0 h 447"/>
              <a:gd name="T100" fmla="*/ 65368111 w 965"/>
              <a:gd name="T101" fmla="*/ 3124581 h 447"/>
              <a:gd name="T102" fmla="*/ 70282843 w 965"/>
              <a:gd name="T103" fmla="*/ 0 h 447"/>
              <a:gd name="T104" fmla="*/ 79621044 w 965"/>
              <a:gd name="T105" fmla="*/ 0 h 44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965"/>
              <a:gd name="T160" fmla="*/ 0 h 447"/>
              <a:gd name="T161" fmla="*/ 965 w 965"/>
              <a:gd name="T162" fmla="*/ 447 h 44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965" h="447">
                <a:moveTo>
                  <a:pt x="806" y="17"/>
                </a:moveTo>
                <a:lnTo>
                  <a:pt x="785" y="35"/>
                </a:lnTo>
                <a:lnTo>
                  <a:pt x="765" y="35"/>
                </a:lnTo>
                <a:lnTo>
                  <a:pt x="806" y="35"/>
                </a:lnTo>
                <a:lnTo>
                  <a:pt x="825" y="17"/>
                </a:lnTo>
                <a:lnTo>
                  <a:pt x="865" y="17"/>
                </a:lnTo>
                <a:lnTo>
                  <a:pt x="886" y="35"/>
                </a:lnTo>
                <a:lnTo>
                  <a:pt x="927" y="54"/>
                </a:lnTo>
                <a:lnTo>
                  <a:pt x="946" y="54"/>
                </a:lnTo>
                <a:lnTo>
                  <a:pt x="965" y="54"/>
                </a:lnTo>
                <a:lnTo>
                  <a:pt x="965" y="71"/>
                </a:lnTo>
                <a:lnTo>
                  <a:pt x="946" y="71"/>
                </a:lnTo>
                <a:lnTo>
                  <a:pt x="886" y="90"/>
                </a:lnTo>
                <a:lnTo>
                  <a:pt x="846" y="108"/>
                </a:lnTo>
                <a:lnTo>
                  <a:pt x="785" y="125"/>
                </a:lnTo>
                <a:lnTo>
                  <a:pt x="806" y="125"/>
                </a:lnTo>
                <a:lnTo>
                  <a:pt x="846" y="125"/>
                </a:lnTo>
                <a:lnTo>
                  <a:pt x="865" y="125"/>
                </a:lnTo>
                <a:lnTo>
                  <a:pt x="825" y="144"/>
                </a:lnTo>
                <a:lnTo>
                  <a:pt x="785" y="161"/>
                </a:lnTo>
                <a:lnTo>
                  <a:pt x="746" y="179"/>
                </a:lnTo>
                <a:lnTo>
                  <a:pt x="706" y="179"/>
                </a:lnTo>
                <a:lnTo>
                  <a:pt x="666" y="215"/>
                </a:lnTo>
                <a:lnTo>
                  <a:pt x="645" y="234"/>
                </a:lnTo>
                <a:lnTo>
                  <a:pt x="625" y="234"/>
                </a:lnTo>
                <a:lnTo>
                  <a:pt x="606" y="234"/>
                </a:lnTo>
                <a:lnTo>
                  <a:pt x="585" y="234"/>
                </a:lnTo>
                <a:lnTo>
                  <a:pt x="543" y="252"/>
                </a:lnTo>
                <a:lnTo>
                  <a:pt x="524" y="267"/>
                </a:lnTo>
                <a:lnTo>
                  <a:pt x="543" y="267"/>
                </a:lnTo>
                <a:lnTo>
                  <a:pt x="543" y="286"/>
                </a:lnTo>
                <a:lnTo>
                  <a:pt x="524" y="286"/>
                </a:lnTo>
                <a:lnTo>
                  <a:pt x="543" y="303"/>
                </a:lnTo>
                <a:lnTo>
                  <a:pt x="524" y="321"/>
                </a:lnTo>
                <a:lnTo>
                  <a:pt x="502" y="340"/>
                </a:lnTo>
                <a:lnTo>
                  <a:pt x="483" y="357"/>
                </a:lnTo>
                <a:lnTo>
                  <a:pt x="462" y="357"/>
                </a:lnTo>
                <a:lnTo>
                  <a:pt x="443" y="357"/>
                </a:lnTo>
                <a:lnTo>
                  <a:pt x="443" y="374"/>
                </a:lnTo>
                <a:lnTo>
                  <a:pt x="403" y="394"/>
                </a:lnTo>
                <a:lnTo>
                  <a:pt x="403" y="411"/>
                </a:lnTo>
                <a:lnTo>
                  <a:pt x="424" y="411"/>
                </a:lnTo>
                <a:lnTo>
                  <a:pt x="443" y="411"/>
                </a:lnTo>
                <a:lnTo>
                  <a:pt x="424" y="430"/>
                </a:lnTo>
                <a:lnTo>
                  <a:pt x="403" y="447"/>
                </a:lnTo>
                <a:lnTo>
                  <a:pt x="362" y="447"/>
                </a:lnTo>
                <a:lnTo>
                  <a:pt x="343" y="447"/>
                </a:lnTo>
                <a:lnTo>
                  <a:pt x="322" y="430"/>
                </a:lnTo>
                <a:lnTo>
                  <a:pt x="282" y="430"/>
                </a:lnTo>
                <a:lnTo>
                  <a:pt x="243" y="430"/>
                </a:lnTo>
                <a:lnTo>
                  <a:pt x="222" y="430"/>
                </a:lnTo>
                <a:lnTo>
                  <a:pt x="222" y="447"/>
                </a:lnTo>
                <a:lnTo>
                  <a:pt x="203" y="447"/>
                </a:lnTo>
                <a:lnTo>
                  <a:pt x="182" y="447"/>
                </a:lnTo>
                <a:lnTo>
                  <a:pt x="142" y="430"/>
                </a:lnTo>
                <a:lnTo>
                  <a:pt x="103" y="430"/>
                </a:lnTo>
                <a:lnTo>
                  <a:pt x="80" y="430"/>
                </a:lnTo>
                <a:lnTo>
                  <a:pt x="103" y="411"/>
                </a:lnTo>
                <a:lnTo>
                  <a:pt x="142" y="394"/>
                </a:lnTo>
                <a:lnTo>
                  <a:pt x="163" y="394"/>
                </a:lnTo>
                <a:lnTo>
                  <a:pt x="142" y="374"/>
                </a:lnTo>
                <a:lnTo>
                  <a:pt x="122" y="357"/>
                </a:lnTo>
                <a:lnTo>
                  <a:pt x="142" y="357"/>
                </a:lnTo>
                <a:lnTo>
                  <a:pt x="182" y="357"/>
                </a:lnTo>
                <a:lnTo>
                  <a:pt x="203" y="357"/>
                </a:lnTo>
                <a:lnTo>
                  <a:pt x="222" y="374"/>
                </a:lnTo>
                <a:lnTo>
                  <a:pt x="243" y="374"/>
                </a:lnTo>
                <a:lnTo>
                  <a:pt x="222" y="357"/>
                </a:lnTo>
                <a:lnTo>
                  <a:pt x="203" y="357"/>
                </a:lnTo>
                <a:lnTo>
                  <a:pt x="203" y="340"/>
                </a:lnTo>
                <a:lnTo>
                  <a:pt x="182" y="340"/>
                </a:lnTo>
                <a:lnTo>
                  <a:pt x="163" y="340"/>
                </a:lnTo>
                <a:lnTo>
                  <a:pt x="142" y="340"/>
                </a:lnTo>
                <a:lnTo>
                  <a:pt x="142" y="321"/>
                </a:lnTo>
                <a:lnTo>
                  <a:pt x="142" y="303"/>
                </a:lnTo>
                <a:lnTo>
                  <a:pt x="163" y="303"/>
                </a:lnTo>
                <a:lnTo>
                  <a:pt x="182" y="303"/>
                </a:lnTo>
                <a:lnTo>
                  <a:pt x="203" y="303"/>
                </a:lnTo>
                <a:lnTo>
                  <a:pt x="222" y="286"/>
                </a:lnTo>
                <a:lnTo>
                  <a:pt x="243" y="267"/>
                </a:lnTo>
                <a:lnTo>
                  <a:pt x="222" y="234"/>
                </a:lnTo>
                <a:lnTo>
                  <a:pt x="182" y="234"/>
                </a:lnTo>
                <a:lnTo>
                  <a:pt x="163" y="215"/>
                </a:lnTo>
                <a:lnTo>
                  <a:pt x="182" y="215"/>
                </a:lnTo>
                <a:lnTo>
                  <a:pt x="203" y="215"/>
                </a:lnTo>
                <a:lnTo>
                  <a:pt x="182" y="215"/>
                </a:lnTo>
                <a:lnTo>
                  <a:pt x="182" y="198"/>
                </a:lnTo>
                <a:lnTo>
                  <a:pt x="203" y="198"/>
                </a:lnTo>
                <a:lnTo>
                  <a:pt x="222" y="198"/>
                </a:lnTo>
                <a:lnTo>
                  <a:pt x="243" y="198"/>
                </a:lnTo>
                <a:lnTo>
                  <a:pt x="282" y="215"/>
                </a:lnTo>
                <a:lnTo>
                  <a:pt x="282" y="234"/>
                </a:lnTo>
                <a:lnTo>
                  <a:pt x="322" y="234"/>
                </a:lnTo>
                <a:lnTo>
                  <a:pt x="303" y="234"/>
                </a:lnTo>
                <a:lnTo>
                  <a:pt x="282" y="215"/>
                </a:lnTo>
                <a:lnTo>
                  <a:pt x="282" y="198"/>
                </a:lnTo>
                <a:lnTo>
                  <a:pt x="303" y="198"/>
                </a:lnTo>
                <a:lnTo>
                  <a:pt x="322" y="198"/>
                </a:lnTo>
                <a:lnTo>
                  <a:pt x="343" y="198"/>
                </a:lnTo>
                <a:lnTo>
                  <a:pt x="362" y="179"/>
                </a:lnTo>
                <a:lnTo>
                  <a:pt x="383" y="179"/>
                </a:lnTo>
                <a:lnTo>
                  <a:pt x="403" y="179"/>
                </a:lnTo>
                <a:lnTo>
                  <a:pt x="383" y="179"/>
                </a:lnTo>
                <a:lnTo>
                  <a:pt x="343" y="179"/>
                </a:lnTo>
                <a:lnTo>
                  <a:pt x="322" y="179"/>
                </a:lnTo>
                <a:lnTo>
                  <a:pt x="282" y="179"/>
                </a:lnTo>
                <a:lnTo>
                  <a:pt x="263" y="179"/>
                </a:lnTo>
                <a:lnTo>
                  <a:pt x="243" y="179"/>
                </a:lnTo>
                <a:lnTo>
                  <a:pt x="222" y="179"/>
                </a:lnTo>
                <a:lnTo>
                  <a:pt x="203" y="179"/>
                </a:lnTo>
                <a:lnTo>
                  <a:pt x="182" y="179"/>
                </a:lnTo>
                <a:lnTo>
                  <a:pt x="163" y="179"/>
                </a:lnTo>
                <a:lnTo>
                  <a:pt x="142" y="179"/>
                </a:lnTo>
                <a:lnTo>
                  <a:pt x="103" y="179"/>
                </a:lnTo>
                <a:lnTo>
                  <a:pt x="80" y="161"/>
                </a:lnTo>
                <a:lnTo>
                  <a:pt x="103" y="161"/>
                </a:lnTo>
                <a:lnTo>
                  <a:pt x="122" y="144"/>
                </a:lnTo>
                <a:lnTo>
                  <a:pt x="103" y="144"/>
                </a:lnTo>
                <a:lnTo>
                  <a:pt x="80" y="144"/>
                </a:lnTo>
                <a:lnTo>
                  <a:pt x="80" y="125"/>
                </a:lnTo>
                <a:lnTo>
                  <a:pt x="103" y="125"/>
                </a:lnTo>
                <a:lnTo>
                  <a:pt x="142" y="125"/>
                </a:lnTo>
                <a:lnTo>
                  <a:pt x="122" y="125"/>
                </a:lnTo>
                <a:lnTo>
                  <a:pt x="103" y="125"/>
                </a:lnTo>
                <a:lnTo>
                  <a:pt x="80" y="125"/>
                </a:lnTo>
                <a:lnTo>
                  <a:pt x="61" y="125"/>
                </a:lnTo>
                <a:lnTo>
                  <a:pt x="80" y="125"/>
                </a:lnTo>
                <a:lnTo>
                  <a:pt x="61" y="125"/>
                </a:lnTo>
                <a:lnTo>
                  <a:pt x="40" y="125"/>
                </a:lnTo>
                <a:lnTo>
                  <a:pt x="21" y="125"/>
                </a:lnTo>
                <a:lnTo>
                  <a:pt x="0" y="125"/>
                </a:lnTo>
                <a:lnTo>
                  <a:pt x="21" y="108"/>
                </a:lnTo>
                <a:lnTo>
                  <a:pt x="80" y="90"/>
                </a:lnTo>
                <a:lnTo>
                  <a:pt x="122" y="71"/>
                </a:lnTo>
                <a:lnTo>
                  <a:pt x="142" y="71"/>
                </a:lnTo>
                <a:lnTo>
                  <a:pt x="182" y="54"/>
                </a:lnTo>
                <a:lnTo>
                  <a:pt x="203" y="54"/>
                </a:lnTo>
                <a:lnTo>
                  <a:pt x="222" y="54"/>
                </a:lnTo>
                <a:lnTo>
                  <a:pt x="243" y="54"/>
                </a:lnTo>
                <a:lnTo>
                  <a:pt x="282" y="71"/>
                </a:lnTo>
                <a:lnTo>
                  <a:pt x="282" y="54"/>
                </a:lnTo>
                <a:lnTo>
                  <a:pt x="303" y="35"/>
                </a:lnTo>
                <a:lnTo>
                  <a:pt x="322" y="35"/>
                </a:lnTo>
                <a:lnTo>
                  <a:pt x="343" y="35"/>
                </a:lnTo>
                <a:lnTo>
                  <a:pt x="343" y="17"/>
                </a:lnTo>
                <a:lnTo>
                  <a:pt x="362" y="17"/>
                </a:lnTo>
                <a:lnTo>
                  <a:pt x="403" y="17"/>
                </a:lnTo>
                <a:lnTo>
                  <a:pt x="443" y="17"/>
                </a:lnTo>
                <a:lnTo>
                  <a:pt x="483" y="17"/>
                </a:lnTo>
                <a:lnTo>
                  <a:pt x="502" y="0"/>
                </a:lnTo>
                <a:lnTo>
                  <a:pt x="524" y="0"/>
                </a:lnTo>
                <a:lnTo>
                  <a:pt x="543" y="17"/>
                </a:lnTo>
                <a:lnTo>
                  <a:pt x="564" y="17"/>
                </a:lnTo>
                <a:lnTo>
                  <a:pt x="564" y="0"/>
                </a:lnTo>
                <a:lnTo>
                  <a:pt x="585" y="0"/>
                </a:lnTo>
                <a:lnTo>
                  <a:pt x="606" y="0"/>
                </a:lnTo>
                <a:lnTo>
                  <a:pt x="625" y="0"/>
                </a:lnTo>
                <a:lnTo>
                  <a:pt x="645" y="0"/>
                </a:lnTo>
                <a:lnTo>
                  <a:pt x="685" y="0"/>
                </a:lnTo>
                <a:lnTo>
                  <a:pt x="746" y="17"/>
                </a:lnTo>
                <a:lnTo>
                  <a:pt x="806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8" name="Freeform 144"/>
          <p:cNvSpPr>
            <a:spLocks/>
          </p:cNvSpPr>
          <p:nvPr/>
        </p:nvSpPr>
        <p:spPr bwMode="gray">
          <a:xfrm>
            <a:off x="1625600" y="2228850"/>
            <a:ext cx="265113" cy="103188"/>
          </a:xfrm>
          <a:custGeom>
            <a:avLst/>
            <a:gdLst>
              <a:gd name="T0" fmla="*/ 13719247 w 378"/>
              <a:gd name="T1" fmla="*/ 21624335 h 144"/>
              <a:gd name="T2" fmla="*/ 13719247 w 378"/>
              <a:gd name="T3" fmla="*/ 21624335 h 144"/>
              <a:gd name="T4" fmla="*/ 15678839 w 378"/>
              <a:gd name="T5" fmla="*/ 18535145 h 144"/>
              <a:gd name="T6" fmla="*/ 13719247 w 378"/>
              <a:gd name="T7" fmla="*/ 15445954 h 144"/>
              <a:gd name="T8" fmla="*/ 11269407 w 378"/>
              <a:gd name="T9" fmla="*/ 18535145 h 144"/>
              <a:gd name="T10" fmla="*/ 6859273 w 378"/>
              <a:gd name="T11" fmla="*/ 18535145 h 144"/>
              <a:gd name="T12" fmla="*/ 1959592 w 378"/>
              <a:gd name="T13" fmla="*/ 18535145 h 144"/>
              <a:gd name="T14" fmla="*/ 0 w 378"/>
              <a:gd name="T15" fmla="*/ 15445954 h 144"/>
              <a:gd name="T16" fmla="*/ 1959592 w 378"/>
              <a:gd name="T17" fmla="*/ 12356763 h 144"/>
              <a:gd name="T18" fmla="*/ 6859273 w 378"/>
              <a:gd name="T19" fmla="*/ 12356763 h 144"/>
              <a:gd name="T20" fmla="*/ 6859273 w 378"/>
              <a:gd name="T21" fmla="*/ 12356763 h 144"/>
              <a:gd name="T22" fmla="*/ 1959592 w 378"/>
              <a:gd name="T23" fmla="*/ 12356763 h 144"/>
              <a:gd name="T24" fmla="*/ 4409432 w 378"/>
              <a:gd name="T25" fmla="*/ 9267572 h 144"/>
              <a:gd name="T26" fmla="*/ 8819566 w 378"/>
              <a:gd name="T27" fmla="*/ 9267572 h 144"/>
              <a:gd name="T28" fmla="*/ 8819566 w 378"/>
              <a:gd name="T29" fmla="*/ 9267572 h 144"/>
              <a:gd name="T30" fmla="*/ 4409432 w 378"/>
              <a:gd name="T31" fmla="*/ 9267572 h 144"/>
              <a:gd name="T32" fmla="*/ 6859273 w 378"/>
              <a:gd name="T33" fmla="*/ 6178382 h 144"/>
              <a:gd name="T34" fmla="*/ 6859273 w 378"/>
              <a:gd name="T35" fmla="*/ 3089191 h 144"/>
              <a:gd name="T36" fmla="*/ 11269407 w 378"/>
              <a:gd name="T37" fmla="*/ 3089191 h 144"/>
              <a:gd name="T38" fmla="*/ 15678839 w 378"/>
              <a:gd name="T39" fmla="*/ 6178382 h 144"/>
              <a:gd name="T40" fmla="*/ 23028360 w 378"/>
              <a:gd name="T41" fmla="*/ 12356763 h 144"/>
              <a:gd name="T42" fmla="*/ 29888335 w 378"/>
              <a:gd name="T43" fmla="*/ 12356763 h 144"/>
              <a:gd name="T44" fmla="*/ 29888335 w 378"/>
              <a:gd name="T45" fmla="*/ 12356763 h 144"/>
              <a:gd name="T46" fmla="*/ 29888335 w 378"/>
              <a:gd name="T47" fmla="*/ 9267572 h 144"/>
              <a:gd name="T48" fmla="*/ 27438494 w 378"/>
              <a:gd name="T49" fmla="*/ 6178382 h 144"/>
              <a:gd name="T50" fmla="*/ 24988654 w 378"/>
              <a:gd name="T51" fmla="*/ 3089191 h 144"/>
              <a:gd name="T52" fmla="*/ 29888335 w 378"/>
              <a:gd name="T53" fmla="*/ 0 h 144"/>
              <a:gd name="T54" fmla="*/ 31847927 w 378"/>
              <a:gd name="T55" fmla="*/ 3089191 h 144"/>
              <a:gd name="T56" fmla="*/ 34297767 w 378"/>
              <a:gd name="T57" fmla="*/ 9267572 h 144"/>
              <a:gd name="T58" fmla="*/ 41157741 w 378"/>
              <a:gd name="T59" fmla="*/ 6178382 h 144"/>
              <a:gd name="T60" fmla="*/ 43607582 w 378"/>
              <a:gd name="T61" fmla="*/ 9267572 h 144"/>
              <a:gd name="T62" fmla="*/ 41157741 w 378"/>
              <a:gd name="T63" fmla="*/ 18535145 h 144"/>
              <a:gd name="T64" fmla="*/ 31847927 w 378"/>
              <a:gd name="T65" fmla="*/ 18535145 h 144"/>
              <a:gd name="T66" fmla="*/ 24988654 w 378"/>
              <a:gd name="T67" fmla="*/ 21624335 h 144"/>
              <a:gd name="T68" fmla="*/ 20578520 w 378"/>
              <a:gd name="T69" fmla="*/ 21624335 h 144"/>
              <a:gd name="T70" fmla="*/ 15678839 w 378"/>
              <a:gd name="T71" fmla="*/ 24713526 h 14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78"/>
              <a:gd name="T109" fmla="*/ 0 h 144"/>
              <a:gd name="T110" fmla="*/ 378 w 378"/>
              <a:gd name="T111" fmla="*/ 144 h 14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78" h="144">
                <a:moveTo>
                  <a:pt x="138" y="144"/>
                </a:moveTo>
                <a:lnTo>
                  <a:pt x="119" y="127"/>
                </a:lnTo>
                <a:lnTo>
                  <a:pt x="100" y="127"/>
                </a:lnTo>
                <a:lnTo>
                  <a:pt x="119" y="127"/>
                </a:lnTo>
                <a:lnTo>
                  <a:pt x="138" y="127"/>
                </a:lnTo>
                <a:lnTo>
                  <a:pt x="138" y="107"/>
                </a:lnTo>
                <a:lnTo>
                  <a:pt x="119" y="107"/>
                </a:lnTo>
                <a:lnTo>
                  <a:pt x="119" y="90"/>
                </a:lnTo>
                <a:lnTo>
                  <a:pt x="100" y="90"/>
                </a:lnTo>
                <a:lnTo>
                  <a:pt x="100" y="107"/>
                </a:lnTo>
                <a:lnTo>
                  <a:pt x="79" y="107"/>
                </a:lnTo>
                <a:lnTo>
                  <a:pt x="60" y="107"/>
                </a:lnTo>
                <a:lnTo>
                  <a:pt x="38" y="107"/>
                </a:lnTo>
                <a:lnTo>
                  <a:pt x="19" y="107"/>
                </a:lnTo>
                <a:lnTo>
                  <a:pt x="0" y="107"/>
                </a:lnTo>
                <a:lnTo>
                  <a:pt x="0" y="90"/>
                </a:lnTo>
                <a:lnTo>
                  <a:pt x="0" y="73"/>
                </a:lnTo>
                <a:lnTo>
                  <a:pt x="19" y="73"/>
                </a:lnTo>
                <a:lnTo>
                  <a:pt x="38" y="73"/>
                </a:lnTo>
                <a:lnTo>
                  <a:pt x="60" y="73"/>
                </a:lnTo>
                <a:lnTo>
                  <a:pt x="79" y="73"/>
                </a:lnTo>
                <a:lnTo>
                  <a:pt x="60" y="73"/>
                </a:lnTo>
                <a:lnTo>
                  <a:pt x="38" y="73"/>
                </a:lnTo>
                <a:lnTo>
                  <a:pt x="19" y="73"/>
                </a:lnTo>
                <a:lnTo>
                  <a:pt x="19" y="54"/>
                </a:lnTo>
                <a:lnTo>
                  <a:pt x="38" y="54"/>
                </a:lnTo>
                <a:lnTo>
                  <a:pt x="60" y="54"/>
                </a:lnTo>
                <a:lnTo>
                  <a:pt x="79" y="54"/>
                </a:lnTo>
                <a:lnTo>
                  <a:pt x="100" y="54"/>
                </a:lnTo>
                <a:lnTo>
                  <a:pt x="79" y="54"/>
                </a:lnTo>
                <a:lnTo>
                  <a:pt x="60" y="54"/>
                </a:lnTo>
                <a:lnTo>
                  <a:pt x="38" y="54"/>
                </a:lnTo>
                <a:lnTo>
                  <a:pt x="38" y="36"/>
                </a:lnTo>
                <a:lnTo>
                  <a:pt x="60" y="36"/>
                </a:lnTo>
                <a:lnTo>
                  <a:pt x="79" y="36"/>
                </a:lnTo>
                <a:lnTo>
                  <a:pt x="60" y="19"/>
                </a:lnTo>
                <a:lnTo>
                  <a:pt x="79" y="19"/>
                </a:lnTo>
                <a:lnTo>
                  <a:pt x="100" y="19"/>
                </a:lnTo>
                <a:lnTo>
                  <a:pt x="119" y="36"/>
                </a:lnTo>
                <a:lnTo>
                  <a:pt x="138" y="36"/>
                </a:lnTo>
                <a:lnTo>
                  <a:pt x="159" y="54"/>
                </a:lnTo>
                <a:lnTo>
                  <a:pt x="200" y="73"/>
                </a:lnTo>
                <a:lnTo>
                  <a:pt x="240" y="73"/>
                </a:lnTo>
                <a:lnTo>
                  <a:pt x="259" y="73"/>
                </a:lnTo>
                <a:lnTo>
                  <a:pt x="278" y="73"/>
                </a:lnTo>
                <a:lnTo>
                  <a:pt x="259" y="73"/>
                </a:lnTo>
                <a:lnTo>
                  <a:pt x="240" y="73"/>
                </a:lnTo>
                <a:lnTo>
                  <a:pt x="259" y="54"/>
                </a:lnTo>
                <a:lnTo>
                  <a:pt x="259" y="36"/>
                </a:lnTo>
                <a:lnTo>
                  <a:pt x="240" y="36"/>
                </a:lnTo>
                <a:lnTo>
                  <a:pt x="219" y="36"/>
                </a:lnTo>
                <a:lnTo>
                  <a:pt x="219" y="19"/>
                </a:lnTo>
                <a:lnTo>
                  <a:pt x="240" y="0"/>
                </a:lnTo>
                <a:lnTo>
                  <a:pt x="259" y="0"/>
                </a:lnTo>
                <a:lnTo>
                  <a:pt x="278" y="0"/>
                </a:lnTo>
                <a:lnTo>
                  <a:pt x="278" y="19"/>
                </a:lnTo>
                <a:lnTo>
                  <a:pt x="278" y="36"/>
                </a:lnTo>
                <a:lnTo>
                  <a:pt x="300" y="54"/>
                </a:lnTo>
                <a:lnTo>
                  <a:pt x="340" y="54"/>
                </a:lnTo>
                <a:lnTo>
                  <a:pt x="359" y="36"/>
                </a:lnTo>
                <a:lnTo>
                  <a:pt x="359" y="54"/>
                </a:lnTo>
                <a:lnTo>
                  <a:pt x="378" y="54"/>
                </a:lnTo>
                <a:lnTo>
                  <a:pt x="378" y="73"/>
                </a:lnTo>
                <a:lnTo>
                  <a:pt x="359" y="107"/>
                </a:lnTo>
                <a:lnTo>
                  <a:pt x="340" y="107"/>
                </a:lnTo>
                <a:lnTo>
                  <a:pt x="278" y="107"/>
                </a:lnTo>
                <a:lnTo>
                  <a:pt x="259" y="127"/>
                </a:lnTo>
                <a:lnTo>
                  <a:pt x="219" y="127"/>
                </a:lnTo>
                <a:lnTo>
                  <a:pt x="200" y="127"/>
                </a:lnTo>
                <a:lnTo>
                  <a:pt x="179" y="127"/>
                </a:lnTo>
                <a:lnTo>
                  <a:pt x="159" y="127"/>
                </a:lnTo>
                <a:lnTo>
                  <a:pt x="138" y="144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39" name="Freeform 145"/>
          <p:cNvSpPr>
            <a:spLocks/>
          </p:cNvSpPr>
          <p:nvPr/>
        </p:nvSpPr>
        <p:spPr bwMode="gray">
          <a:xfrm>
            <a:off x="1679575" y="2228850"/>
            <a:ext cx="30163" cy="0"/>
          </a:xfrm>
          <a:custGeom>
            <a:avLst/>
            <a:gdLst>
              <a:gd name="T0" fmla="*/ 3427271 w 40"/>
              <a:gd name="T1" fmla="*/ 0 w 40"/>
              <a:gd name="T2" fmla="*/ 3427271 w 40"/>
              <a:gd name="T3" fmla="*/ 6283707 w 40"/>
              <a:gd name="T4" fmla="*/ 3427271 w 4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w 40"/>
              <a:gd name="T11" fmla="*/ 40 w 40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T10" t="0" r="T11" b="0"/>
            <a:pathLst>
              <a:path w="40">
                <a:moveTo>
                  <a:pt x="21" y="0"/>
                </a:moveTo>
                <a:lnTo>
                  <a:pt x="0" y="0"/>
                </a:lnTo>
                <a:lnTo>
                  <a:pt x="21" y="0"/>
                </a:lnTo>
                <a:lnTo>
                  <a:pt x="4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0" name="Freeform 146"/>
          <p:cNvSpPr>
            <a:spLocks/>
          </p:cNvSpPr>
          <p:nvPr/>
        </p:nvSpPr>
        <p:spPr bwMode="gray">
          <a:xfrm>
            <a:off x="1722438" y="2152650"/>
            <a:ext cx="85725" cy="25400"/>
          </a:xfrm>
          <a:custGeom>
            <a:avLst/>
            <a:gdLst>
              <a:gd name="T0" fmla="*/ 4984802 w 121"/>
              <a:gd name="T1" fmla="*/ 5088238 h 37"/>
              <a:gd name="T2" fmla="*/ 2492401 w 121"/>
              <a:gd name="T3" fmla="*/ 2312773 h 37"/>
              <a:gd name="T4" fmla="*/ 0 w 121"/>
              <a:gd name="T5" fmla="*/ 2312773 h 37"/>
              <a:gd name="T6" fmla="*/ 0 w 121"/>
              <a:gd name="T7" fmla="*/ 5088238 h 37"/>
              <a:gd name="T8" fmla="*/ 0 w 121"/>
              <a:gd name="T9" fmla="*/ 0 h 37"/>
              <a:gd name="T10" fmla="*/ 4984802 w 121"/>
              <a:gd name="T11" fmla="*/ 0 h 37"/>
              <a:gd name="T12" fmla="*/ 7477204 w 121"/>
              <a:gd name="T13" fmla="*/ 0 h 37"/>
              <a:gd name="T14" fmla="*/ 9471550 w 121"/>
              <a:gd name="T15" fmla="*/ 0 h 37"/>
              <a:gd name="T16" fmla="*/ 11963951 w 121"/>
              <a:gd name="T17" fmla="*/ 0 h 37"/>
              <a:gd name="T18" fmla="*/ 14456352 w 121"/>
              <a:gd name="T19" fmla="*/ 2312773 h 37"/>
              <a:gd name="T20" fmla="*/ 11963951 w 121"/>
              <a:gd name="T21" fmla="*/ 2312773 h 37"/>
              <a:gd name="T22" fmla="*/ 9471550 w 121"/>
              <a:gd name="T23" fmla="*/ 5088238 h 37"/>
              <a:gd name="T24" fmla="*/ 7477204 w 121"/>
              <a:gd name="T25" fmla="*/ 5088238 h 37"/>
              <a:gd name="T26" fmla="*/ 4984802 w 121"/>
              <a:gd name="T27" fmla="*/ 5088238 h 3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1"/>
              <a:gd name="T43" fmla="*/ 0 h 37"/>
              <a:gd name="T44" fmla="*/ 121 w 121"/>
              <a:gd name="T45" fmla="*/ 37 h 3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1" h="37">
                <a:moveTo>
                  <a:pt x="41" y="37"/>
                </a:moveTo>
                <a:lnTo>
                  <a:pt x="21" y="18"/>
                </a:lnTo>
                <a:lnTo>
                  <a:pt x="0" y="18"/>
                </a:lnTo>
                <a:lnTo>
                  <a:pt x="0" y="37"/>
                </a:lnTo>
                <a:lnTo>
                  <a:pt x="0" y="0"/>
                </a:lnTo>
                <a:lnTo>
                  <a:pt x="41" y="0"/>
                </a:lnTo>
                <a:lnTo>
                  <a:pt x="62" y="0"/>
                </a:lnTo>
                <a:lnTo>
                  <a:pt x="81" y="0"/>
                </a:lnTo>
                <a:lnTo>
                  <a:pt x="102" y="0"/>
                </a:lnTo>
                <a:lnTo>
                  <a:pt x="121" y="18"/>
                </a:lnTo>
                <a:lnTo>
                  <a:pt x="102" y="18"/>
                </a:lnTo>
                <a:lnTo>
                  <a:pt x="81" y="37"/>
                </a:lnTo>
                <a:lnTo>
                  <a:pt x="62" y="37"/>
                </a:lnTo>
                <a:lnTo>
                  <a:pt x="41" y="3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1" name="Freeform 147"/>
          <p:cNvSpPr>
            <a:spLocks/>
          </p:cNvSpPr>
          <p:nvPr/>
        </p:nvSpPr>
        <p:spPr bwMode="gray">
          <a:xfrm>
            <a:off x="1722438" y="2178050"/>
            <a:ext cx="71437" cy="39688"/>
          </a:xfrm>
          <a:custGeom>
            <a:avLst/>
            <a:gdLst>
              <a:gd name="T0" fmla="*/ 9224478 w 102"/>
              <a:gd name="T1" fmla="*/ 3257356 h 54"/>
              <a:gd name="T2" fmla="*/ 6797020 w 102"/>
              <a:gd name="T3" fmla="*/ 6514712 h 54"/>
              <a:gd name="T4" fmla="*/ 2427457 w 102"/>
              <a:gd name="T5" fmla="*/ 10315205 h 54"/>
              <a:gd name="T6" fmla="*/ 0 w 102"/>
              <a:gd name="T7" fmla="*/ 6514712 h 54"/>
              <a:gd name="T8" fmla="*/ 0 w 102"/>
              <a:gd name="T9" fmla="*/ 3257356 h 54"/>
              <a:gd name="T10" fmla="*/ 0 w 102"/>
              <a:gd name="T11" fmla="*/ 0 h 54"/>
              <a:gd name="T12" fmla="*/ 6797020 w 102"/>
              <a:gd name="T13" fmla="*/ 0 h 54"/>
              <a:gd name="T14" fmla="*/ 9224478 w 102"/>
              <a:gd name="T15" fmla="*/ 0 h 54"/>
              <a:gd name="T16" fmla="*/ 11651935 w 102"/>
              <a:gd name="T17" fmla="*/ 0 h 54"/>
              <a:gd name="T18" fmla="*/ 11651935 w 102"/>
              <a:gd name="T19" fmla="*/ 3257356 h 54"/>
              <a:gd name="T20" fmla="*/ 9224478 w 102"/>
              <a:gd name="T21" fmla="*/ 3257356 h 54"/>
              <a:gd name="T22" fmla="*/ 6797020 w 102"/>
              <a:gd name="T23" fmla="*/ 3257356 h 54"/>
              <a:gd name="T24" fmla="*/ 9224478 w 102"/>
              <a:gd name="T25" fmla="*/ 3257356 h 5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2"/>
              <a:gd name="T40" fmla="*/ 0 h 54"/>
              <a:gd name="T41" fmla="*/ 102 w 102"/>
              <a:gd name="T42" fmla="*/ 54 h 5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2" h="54">
                <a:moveTo>
                  <a:pt x="81" y="17"/>
                </a:moveTo>
                <a:lnTo>
                  <a:pt x="62" y="34"/>
                </a:lnTo>
                <a:lnTo>
                  <a:pt x="21" y="54"/>
                </a:lnTo>
                <a:lnTo>
                  <a:pt x="0" y="34"/>
                </a:lnTo>
                <a:lnTo>
                  <a:pt x="0" y="17"/>
                </a:lnTo>
                <a:lnTo>
                  <a:pt x="0" y="0"/>
                </a:lnTo>
                <a:lnTo>
                  <a:pt x="62" y="0"/>
                </a:lnTo>
                <a:lnTo>
                  <a:pt x="81" y="0"/>
                </a:lnTo>
                <a:lnTo>
                  <a:pt x="102" y="0"/>
                </a:lnTo>
                <a:lnTo>
                  <a:pt x="102" y="17"/>
                </a:lnTo>
                <a:lnTo>
                  <a:pt x="81" y="17"/>
                </a:lnTo>
                <a:lnTo>
                  <a:pt x="62" y="17"/>
                </a:lnTo>
                <a:lnTo>
                  <a:pt x="81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2" name="Freeform 148"/>
          <p:cNvSpPr>
            <a:spLocks/>
          </p:cNvSpPr>
          <p:nvPr/>
        </p:nvSpPr>
        <p:spPr bwMode="gray">
          <a:xfrm>
            <a:off x="1962150" y="2360613"/>
            <a:ext cx="139700" cy="88900"/>
          </a:xfrm>
          <a:custGeom>
            <a:avLst/>
            <a:gdLst>
              <a:gd name="T0" fmla="*/ 18087658 w 200"/>
              <a:gd name="T1" fmla="*/ 6127699 h 125"/>
              <a:gd name="T2" fmla="*/ 18087658 w 200"/>
              <a:gd name="T3" fmla="*/ 8680907 h 125"/>
              <a:gd name="T4" fmla="*/ 18087658 w 200"/>
              <a:gd name="T5" fmla="*/ 11745468 h 125"/>
              <a:gd name="T6" fmla="*/ 20531709 w 200"/>
              <a:gd name="T7" fmla="*/ 11745468 h 125"/>
              <a:gd name="T8" fmla="*/ 22976459 w 200"/>
              <a:gd name="T9" fmla="*/ 11745468 h 125"/>
              <a:gd name="T10" fmla="*/ 20531709 w 200"/>
              <a:gd name="T11" fmla="*/ 14809318 h 125"/>
              <a:gd name="T12" fmla="*/ 20531709 w 200"/>
              <a:gd name="T13" fmla="*/ 17873167 h 125"/>
              <a:gd name="T14" fmla="*/ 16132556 w 200"/>
              <a:gd name="T15" fmla="*/ 20937017 h 125"/>
              <a:gd name="T16" fmla="*/ 13687806 w 200"/>
              <a:gd name="T17" fmla="*/ 20937017 h 125"/>
              <a:gd name="T18" fmla="*/ 11732705 w 200"/>
              <a:gd name="T19" fmla="*/ 20937017 h 125"/>
              <a:gd name="T20" fmla="*/ 11732705 w 200"/>
              <a:gd name="T21" fmla="*/ 17873167 h 125"/>
              <a:gd name="T22" fmla="*/ 6843903 w 200"/>
              <a:gd name="T23" fmla="*/ 14809318 h 125"/>
              <a:gd name="T24" fmla="*/ 4399852 w 200"/>
              <a:gd name="T25" fmla="*/ 11745468 h 125"/>
              <a:gd name="T26" fmla="*/ 0 w 200"/>
              <a:gd name="T27" fmla="*/ 11745468 h 125"/>
              <a:gd name="T28" fmla="*/ 0 w 200"/>
              <a:gd name="T29" fmla="*/ 8680907 h 125"/>
              <a:gd name="T30" fmla="*/ 0 w 200"/>
              <a:gd name="T31" fmla="*/ 6127699 h 125"/>
              <a:gd name="T32" fmla="*/ 1955102 w 200"/>
              <a:gd name="T33" fmla="*/ 8680907 h 125"/>
              <a:gd name="T34" fmla="*/ 4399852 w 200"/>
              <a:gd name="T35" fmla="*/ 8680907 h 125"/>
              <a:gd name="T36" fmla="*/ 6843903 w 200"/>
              <a:gd name="T37" fmla="*/ 8680907 h 125"/>
              <a:gd name="T38" fmla="*/ 6843903 w 200"/>
              <a:gd name="T39" fmla="*/ 6127699 h 125"/>
              <a:gd name="T40" fmla="*/ 6843903 w 200"/>
              <a:gd name="T41" fmla="*/ 2553208 h 125"/>
              <a:gd name="T42" fmla="*/ 4399852 w 200"/>
              <a:gd name="T43" fmla="*/ 2553208 h 125"/>
              <a:gd name="T44" fmla="*/ 4399852 w 200"/>
              <a:gd name="T45" fmla="*/ 0 h 125"/>
              <a:gd name="T46" fmla="*/ 6843903 w 200"/>
              <a:gd name="T47" fmla="*/ 0 h 125"/>
              <a:gd name="T48" fmla="*/ 8799703 w 200"/>
              <a:gd name="T49" fmla="*/ 0 h 125"/>
              <a:gd name="T50" fmla="*/ 13687806 w 200"/>
              <a:gd name="T51" fmla="*/ 0 h 125"/>
              <a:gd name="T52" fmla="*/ 16132556 w 200"/>
              <a:gd name="T53" fmla="*/ 0 h 125"/>
              <a:gd name="T54" fmla="*/ 18087658 w 200"/>
              <a:gd name="T55" fmla="*/ 0 h 125"/>
              <a:gd name="T56" fmla="*/ 18087658 w 200"/>
              <a:gd name="T57" fmla="*/ 2553208 h 125"/>
              <a:gd name="T58" fmla="*/ 16132556 w 200"/>
              <a:gd name="T59" fmla="*/ 6127699 h 125"/>
              <a:gd name="T60" fmla="*/ 13687806 w 200"/>
              <a:gd name="T61" fmla="*/ 6127699 h 125"/>
              <a:gd name="T62" fmla="*/ 16132556 w 200"/>
              <a:gd name="T63" fmla="*/ 6127699 h 125"/>
              <a:gd name="T64" fmla="*/ 18087658 w 200"/>
              <a:gd name="T65" fmla="*/ 6127699 h 1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00"/>
              <a:gd name="T100" fmla="*/ 0 h 125"/>
              <a:gd name="T101" fmla="*/ 200 w 200"/>
              <a:gd name="T102" fmla="*/ 125 h 1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00" h="125">
                <a:moveTo>
                  <a:pt x="159" y="35"/>
                </a:moveTo>
                <a:lnTo>
                  <a:pt x="159" y="52"/>
                </a:lnTo>
                <a:lnTo>
                  <a:pt x="159" y="69"/>
                </a:lnTo>
                <a:lnTo>
                  <a:pt x="178" y="69"/>
                </a:lnTo>
                <a:lnTo>
                  <a:pt x="200" y="69"/>
                </a:lnTo>
                <a:lnTo>
                  <a:pt x="178" y="89"/>
                </a:lnTo>
                <a:lnTo>
                  <a:pt x="178" y="106"/>
                </a:lnTo>
                <a:lnTo>
                  <a:pt x="140" y="125"/>
                </a:lnTo>
                <a:lnTo>
                  <a:pt x="119" y="125"/>
                </a:lnTo>
                <a:lnTo>
                  <a:pt x="100" y="125"/>
                </a:lnTo>
                <a:lnTo>
                  <a:pt x="100" y="106"/>
                </a:lnTo>
                <a:lnTo>
                  <a:pt x="59" y="89"/>
                </a:lnTo>
                <a:lnTo>
                  <a:pt x="38" y="69"/>
                </a:lnTo>
                <a:lnTo>
                  <a:pt x="0" y="69"/>
                </a:lnTo>
                <a:lnTo>
                  <a:pt x="0" y="52"/>
                </a:lnTo>
                <a:lnTo>
                  <a:pt x="0" y="35"/>
                </a:lnTo>
                <a:lnTo>
                  <a:pt x="19" y="52"/>
                </a:lnTo>
                <a:lnTo>
                  <a:pt x="38" y="52"/>
                </a:lnTo>
                <a:lnTo>
                  <a:pt x="59" y="52"/>
                </a:lnTo>
                <a:lnTo>
                  <a:pt x="59" y="35"/>
                </a:lnTo>
                <a:lnTo>
                  <a:pt x="59" y="16"/>
                </a:lnTo>
                <a:lnTo>
                  <a:pt x="38" y="16"/>
                </a:lnTo>
                <a:lnTo>
                  <a:pt x="38" y="0"/>
                </a:lnTo>
                <a:lnTo>
                  <a:pt x="59" y="0"/>
                </a:lnTo>
                <a:lnTo>
                  <a:pt x="79" y="0"/>
                </a:lnTo>
                <a:lnTo>
                  <a:pt x="119" y="0"/>
                </a:lnTo>
                <a:lnTo>
                  <a:pt x="140" y="0"/>
                </a:lnTo>
                <a:lnTo>
                  <a:pt x="159" y="0"/>
                </a:lnTo>
                <a:lnTo>
                  <a:pt x="159" y="16"/>
                </a:lnTo>
                <a:lnTo>
                  <a:pt x="140" y="35"/>
                </a:lnTo>
                <a:lnTo>
                  <a:pt x="119" y="35"/>
                </a:lnTo>
                <a:lnTo>
                  <a:pt x="140" y="35"/>
                </a:lnTo>
                <a:lnTo>
                  <a:pt x="159" y="35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3" name="Freeform 149"/>
          <p:cNvSpPr>
            <a:spLocks/>
          </p:cNvSpPr>
          <p:nvPr/>
        </p:nvSpPr>
        <p:spPr bwMode="gray">
          <a:xfrm>
            <a:off x="1906588" y="2228850"/>
            <a:ext cx="153987" cy="77788"/>
          </a:xfrm>
          <a:custGeom>
            <a:avLst/>
            <a:gdLst>
              <a:gd name="T0" fmla="*/ 2390596 w 223"/>
              <a:gd name="T1" fmla="*/ 6301555 h 107"/>
              <a:gd name="T2" fmla="*/ 2390596 w 223"/>
              <a:gd name="T3" fmla="*/ 3150777 h 107"/>
              <a:gd name="T4" fmla="*/ 0 w 223"/>
              <a:gd name="T5" fmla="*/ 0 h 107"/>
              <a:gd name="T6" fmla="*/ 2390596 w 223"/>
              <a:gd name="T7" fmla="*/ 0 h 107"/>
              <a:gd name="T8" fmla="*/ 6693256 w 223"/>
              <a:gd name="T9" fmla="*/ 3150777 h 107"/>
              <a:gd name="T10" fmla="*/ 9083852 w 223"/>
              <a:gd name="T11" fmla="*/ 9452332 h 107"/>
              <a:gd name="T12" fmla="*/ 13387202 w 223"/>
              <a:gd name="T13" fmla="*/ 9452332 h 107"/>
              <a:gd name="T14" fmla="*/ 11474448 w 223"/>
              <a:gd name="T15" fmla="*/ 9452332 h 107"/>
              <a:gd name="T16" fmla="*/ 9083852 w 223"/>
              <a:gd name="T17" fmla="*/ 6301555 h 107"/>
              <a:gd name="T18" fmla="*/ 9083852 w 223"/>
              <a:gd name="T19" fmla="*/ 3150777 h 107"/>
              <a:gd name="T20" fmla="*/ 11474448 w 223"/>
              <a:gd name="T21" fmla="*/ 6301555 h 107"/>
              <a:gd name="T22" fmla="*/ 15777798 w 223"/>
              <a:gd name="T23" fmla="*/ 6301555 h 107"/>
              <a:gd name="T24" fmla="*/ 15777798 w 223"/>
              <a:gd name="T25" fmla="*/ 9452332 h 107"/>
              <a:gd name="T26" fmla="*/ 15777798 w 223"/>
              <a:gd name="T27" fmla="*/ 6301555 h 107"/>
              <a:gd name="T28" fmla="*/ 15777798 w 223"/>
              <a:gd name="T29" fmla="*/ 3150777 h 107"/>
              <a:gd name="T30" fmla="*/ 13387202 w 223"/>
              <a:gd name="T31" fmla="*/ 3150777 h 107"/>
              <a:gd name="T32" fmla="*/ 13387202 w 223"/>
              <a:gd name="T33" fmla="*/ 0 h 107"/>
              <a:gd name="T34" fmla="*/ 15777798 w 223"/>
              <a:gd name="T35" fmla="*/ 0 h 107"/>
              <a:gd name="T36" fmla="*/ 17689861 w 223"/>
              <a:gd name="T37" fmla="*/ 3150777 h 107"/>
              <a:gd name="T38" fmla="*/ 20080457 w 223"/>
              <a:gd name="T39" fmla="*/ 3150777 h 107"/>
              <a:gd name="T40" fmla="*/ 22471054 w 223"/>
              <a:gd name="T41" fmla="*/ 3150777 h 107"/>
              <a:gd name="T42" fmla="*/ 22471054 w 223"/>
              <a:gd name="T43" fmla="*/ 0 h 107"/>
              <a:gd name="T44" fmla="*/ 22471054 w 223"/>
              <a:gd name="T45" fmla="*/ 3150777 h 107"/>
              <a:gd name="T46" fmla="*/ 24383807 w 223"/>
              <a:gd name="T47" fmla="*/ 3150777 h 107"/>
              <a:gd name="T48" fmla="*/ 24383807 w 223"/>
              <a:gd name="T49" fmla="*/ 6301555 h 107"/>
              <a:gd name="T50" fmla="*/ 24383807 w 223"/>
              <a:gd name="T51" fmla="*/ 12603110 h 107"/>
              <a:gd name="T52" fmla="*/ 22471054 w 223"/>
              <a:gd name="T53" fmla="*/ 12603110 h 107"/>
              <a:gd name="T54" fmla="*/ 22471054 w 223"/>
              <a:gd name="T55" fmla="*/ 18903938 h 107"/>
              <a:gd name="T56" fmla="*/ 20080457 w 223"/>
              <a:gd name="T57" fmla="*/ 18903938 h 107"/>
              <a:gd name="T58" fmla="*/ 17689861 w 223"/>
              <a:gd name="T59" fmla="*/ 18903938 h 107"/>
              <a:gd name="T60" fmla="*/ 15777798 w 223"/>
              <a:gd name="T61" fmla="*/ 18903938 h 107"/>
              <a:gd name="T62" fmla="*/ 15777798 w 223"/>
              <a:gd name="T63" fmla="*/ 15753887 h 107"/>
              <a:gd name="T64" fmla="*/ 15777798 w 223"/>
              <a:gd name="T65" fmla="*/ 12603110 h 107"/>
              <a:gd name="T66" fmla="*/ 17689861 w 223"/>
              <a:gd name="T67" fmla="*/ 12603110 h 107"/>
              <a:gd name="T68" fmla="*/ 15777798 w 223"/>
              <a:gd name="T69" fmla="*/ 12603110 h 107"/>
              <a:gd name="T70" fmla="*/ 11474448 w 223"/>
              <a:gd name="T71" fmla="*/ 12603110 h 107"/>
              <a:gd name="T72" fmla="*/ 9083852 w 223"/>
              <a:gd name="T73" fmla="*/ 12603110 h 107"/>
              <a:gd name="T74" fmla="*/ 6693256 w 223"/>
              <a:gd name="T75" fmla="*/ 12603110 h 107"/>
              <a:gd name="T76" fmla="*/ 4781193 w 223"/>
              <a:gd name="T77" fmla="*/ 12603110 h 107"/>
              <a:gd name="T78" fmla="*/ 4781193 w 223"/>
              <a:gd name="T79" fmla="*/ 9452332 h 107"/>
              <a:gd name="T80" fmla="*/ 2390596 w 223"/>
              <a:gd name="T81" fmla="*/ 9452332 h 107"/>
              <a:gd name="T82" fmla="*/ 2390596 w 223"/>
              <a:gd name="T83" fmla="*/ 6301555 h 107"/>
              <a:gd name="T84" fmla="*/ 2390596 w 223"/>
              <a:gd name="T85" fmla="*/ 3150777 h 107"/>
              <a:gd name="T86" fmla="*/ 2390596 w 223"/>
              <a:gd name="T87" fmla="*/ 6301555 h 10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23"/>
              <a:gd name="T133" fmla="*/ 0 h 107"/>
              <a:gd name="T134" fmla="*/ 223 w 223"/>
              <a:gd name="T135" fmla="*/ 107 h 10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23" h="107">
                <a:moveTo>
                  <a:pt x="21" y="36"/>
                </a:moveTo>
                <a:lnTo>
                  <a:pt x="21" y="19"/>
                </a:lnTo>
                <a:lnTo>
                  <a:pt x="0" y="0"/>
                </a:lnTo>
                <a:lnTo>
                  <a:pt x="21" y="0"/>
                </a:lnTo>
                <a:lnTo>
                  <a:pt x="62" y="19"/>
                </a:lnTo>
                <a:lnTo>
                  <a:pt x="83" y="54"/>
                </a:lnTo>
                <a:lnTo>
                  <a:pt x="121" y="54"/>
                </a:lnTo>
                <a:lnTo>
                  <a:pt x="102" y="54"/>
                </a:lnTo>
                <a:lnTo>
                  <a:pt x="83" y="36"/>
                </a:lnTo>
                <a:lnTo>
                  <a:pt x="83" y="19"/>
                </a:lnTo>
                <a:lnTo>
                  <a:pt x="102" y="36"/>
                </a:lnTo>
                <a:lnTo>
                  <a:pt x="142" y="36"/>
                </a:lnTo>
                <a:lnTo>
                  <a:pt x="142" y="54"/>
                </a:lnTo>
                <a:lnTo>
                  <a:pt x="142" y="36"/>
                </a:lnTo>
                <a:lnTo>
                  <a:pt x="142" y="19"/>
                </a:lnTo>
                <a:lnTo>
                  <a:pt x="121" y="19"/>
                </a:lnTo>
                <a:lnTo>
                  <a:pt x="121" y="0"/>
                </a:lnTo>
                <a:lnTo>
                  <a:pt x="142" y="0"/>
                </a:lnTo>
                <a:lnTo>
                  <a:pt x="162" y="19"/>
                </a:lnTo>
                <a:lnTo>
                  <a:pt x="183" y="19"/>
                </a:lnTo>
                <a:lnTo>
                  <a:pt x="202" y="19"/>
                </a:lnTo>
                <a:lnTo>
                  <a:pt x="202" y="0"/>
                </a:lnTo>
                <a:lnTo>
                  <a:pt x="202" y="19"/>
                </a:lnTo>
                <a:lnTo>
                  <a:pt x="223" y="19"/>
                </a:lnTo>
                <a:lnTo>
                  <a:pt x="223" y="36"/>
                </a:lnTo>
                <a:lnTo>
                  <a:pt x="223" y="73"/>
                </a:lnTo>
                <a:lnTo>
                  <a:pt x="202" y="73"/>
                </a:lnTo>
                <a:lnTo>
                  <a:pt x="202" y="107"/>
                </a:lnTo>
                <a:lnTo>
                  <a:pt x="183" y="107"/>
                </a:lnTo>
                <a:lnTo>
                  <a:pt x="162" y="107"/>
                </a:lnTo>
                <a:lnTo>
                  <a:pt x="142" y="107"/>
                </a:lnTo>
                <a:lnTo>
                  <a:pt x="142" y="90"/>
                </a:lnTo>
                <a:lnTo>
                  <a:pt x="142" y="73"/>
                </a:lnTo>
                <a:lnTo>
                  <a:pt x="162" y="73"/>
                </a:lnTo>
                <a:lnTo>
                  <a:pt x="142" y="73"/>
                </a:lnTo>
                <a:lnTo>
                  <a:pt x="102" y="73"/>
                </a:lnTo>
                <a:lnTo>
                  <a:pt x="83" y="73"/>
                </a:lnTo>
                <a:lnTo>
                  <a:pt x="62" y="73"/>
                </a:lnTo>
                <a:lnTo>
                  <a:pt x="43" y="73"/>
                </a:lnTo>
                <a:lnTo>
                  <a:pt x="43" y="54"/>
                </a:lnTo>
                <a:lnTo>
                  <a:pt x="21" y="54"/>
                </a:lnTo>
                <a:lnTo>
                  <a:pt x="21" y="36"/>
                </a:lnTo>
                <a:lnTo>
                  <a:pt x="21" y="19"/>
                </a:lnTo>
                <a:lnTo>
                  <a:pt x="21" y="3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4" name="Freeform 150"/>
          <p:cNvSpPr>
            <a:spLocks/>
          </p:cNvSpPr>
          <p:nvPr/>
        </p:nvSpPr>
        <p:spPr bwMode="gray">
          <a:xfrm>
            <a:off x="2033588" y="2500313"/>
            <a:ext cx="80962" cy="52387"/>
          </a:xfrm>
          <a:custGeom>
            <a:avLst/>
            <a:gdLst>
              <a:gd name="T0" fmla="*/ 10815571 w 119"/>
              <a:gd name="T1" fmla="*/ 12352568 h 73"/>
              <a:gd name="T2" fmla="*/ 6113652 w 119"/>
              <a:gd name="T3" fmla="*/ 9264605 h 73"/>
              <a:gd name="T4" fmla="*/ 1881176 w 119"/>
              <a:gd name="T5" fmla="*/ 6176643 h 73"/>
              <a:gd name="T6" fmla="*/ 0 w 119"/>
              <a:gd name="T7" fmla="*/ 6176643 h 73"/>
              <a:gd name="T8" fmla="*/ 1881176 w 119"/>
              <a:gd name="T9" fmla="*/ 6176643 h 73"/>
              <a:gd name="T10" fmla="*/ 1881176 w 119"/>
              <a:gd name="T11" fmla="*/ 3087962 h 73"/>
              <a:gd name="T12" fmla="*/ 4232476 w 119"/>
              <a:gd name="T13" fmla="*/ 0 h 73"/>
              <a:gd name="T14" fmla="*/ 8464271 w 119"/>
              <a:gd name="T15" fmla="*/ 3087962 h 73"/>
              <a:gd name="T16" fmla="*/ 10815571 w 119"/>
              <a:gd name="T17" fmla="*/ 6176643 h 73"/>
              <a:gd name="T18" fmla="*/ 12696747 w 119"/>
              <a:gd name="T19" fmla="*/ 9264605 h 73"/>
              <a:gd name="T20" fmla="*/ 10815571 w 119"/>
              <a:gd name="T21" fmla="*/ 9264605 h 73"/>
              <a:gd name="T22" fmla="*/ 10815571 w 119"/>
              <a:gd name="T23" fmla="*/ 12352568 h 7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9"/>
              <a:gd name="T37" fmla="*/ 0 h 73"/>
              <a:gd name="T38" fmla="*/ 119 w 119"/>
              <a:gd name="T39" fmla="*/ 73 h 7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9" h="73">
                <a:moveTo>
                  <a:pt x="100" y="73"/>
                </a:moveTo>
                <a:lnTo>
                  <a:pt x="59" y="54"/>
                </a:lnTo>
                <a:lnTo>
                  <a:pt x="19" y="37"/>
                </a:lnTo>
                <a:lnTo>
                  <a:pt x="0" y="37"/>
                </a:lnTo>
                <a:lnTo>
                  <a:pt x="19" y="37"/>
                </a:lnTo>
                <a:lnTo>
                  <a:pt x="19" y="17"/>
                </a:lnTo>
                <a:lnTo>
                  <a:pt x="40" y="0"/>
                </a:lnTo>
                <a:lnTo>
                  <a:pt x="78" y="17"/>
                </a:lnTo>
                <a:lnTo>
                  <a:pt x="100" y="37"/>
                </a:lnTo>
                <a:lnTo>
                  <a:pt x="119" y="54"/>
                </a:lnTo>
                <a:lnTo>
                  <a:pt x="100" y="54"/>
                </a:lnTo>
                <a:lnTo>
                  <a:pt x="100" y="73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5" name="Freeform 151"/>
          <p:cNvSpPr>
            <a:spLocks/>
          </p:cNvSpPr>
          <p:nvPr/>
        </p:nvSpPr>
        <p:spPr bwMode="gray">
          <a:xfrm>
            <a:off x="2101850" y="2332038"/>
            <a:ext cx="127000" cy="92075"/>
          </a:xfrm>
          <a:custGeom>
            <a:avLst/>
            <a:gdLst>
              <a:gd name="T0" fmla="*/ 21403733 w 180"/>
              <a:gd name="T1" fmla="*/ 6434938 h 125"/>
              <a:gd name="T2" fmla="*/ 18914533 w 180"/>
              <a:gd name="T3" fmla="*/ 6434938 h 125"/>
              <a:gd name="T4" fmla="*/ 16426039 w 180"/>
              <a:gd name="T5" fmla="*/ 6434938 h 125"/>
              <a:gd name="T6" fmla="*/ 13936839 w 180"/>
              <a:gd name="T7" fmla="*/ 12869875 h 125"/>
              <a:gd name="T8" fmla="*/ 13936839 w 180"/>
              <a:gd name="T9" fmla="*/ 16087344 h 125"/>
              <a:gd name="T10" fmla="*/ 9457267 w 180"/>
              <a:gd name="T11" fmla="*/ 16087344 h 125"/>
              <a:gd name="T12" fmla="*/ 6968772 w 180"/>
              <a:gd name="T13" fmla="*/ 16087344 h 125"/>
              <a:gd name="T14" fmla="*/ 6968772 w 180"/>
              <a:gd name="T15" fmla="*/ 19304813 h 125"/>
              <a:gd name="T16" fmla="*/ 6968772 w 180"/>
              <a:gd name="T17" fmla="*/ 23058526 h 125"/>
              <a:gd name="T18" fmla="*/ 4977694 w 180"/>
              <a:gd name="T19" fmla="*/ 23058526 h 125"/>
              <a:gd name="T20" fmla="*/ 1991078 w 180"/>
              <a:gd name="T21" fmla="*/ 23058526 h 125"/>
              <a:gd name="T22" fmla="*/ 1991078 w 180"/>
              <a:gd name="T23" fmla="*/ 19304813 h 125"/>
              <a:gd name="T24" fmla="*/ 1991078 w 180"/>
              <a:gd name="T25" fmla="*/ 16087344 h 125"/>
              <a:gd name="T26" fmla="*/ 1991078 w 180"/>
              <a:gd name="T27" fmla="*/ 12869875 h 125"/>
              <a:gd name="T28" fmla="*/ 0 w 180"/>
              <a:gd name="T29" fmla="*/ 6434938 h 125"/>
              <a:gd name="T30" fmla="*/ 1991078 w 180"/>
              <a:gd name="T31" fmla="*/ 6434938 h 125"/>
              <a:gd name="T32" fmla="*/ 4977694 w 180"/>
              <a:gd name="T33" fmla="*/ 6434938 h 125"/>
              <a:gd name="T34" fmla="*/ 4977694 w 180"/>
              <a:gd name="T35" fmla="*/ 3217469 h 125"/>
              <a:gd name="T36" fmla="*/ 6968772 w 180"/>
              <a:gd name="T37" fmla="*/ 3217469 h 125"/>
              <a:gd name="T38" fmla="*/ 6968772 w 180"/>
              <a:gd name="T39" fmla="*/ 0 h 125"/>
              <a:gd name="T40" fmla="*/ 11448344 w 180"/>
              <a:gd name="T41" fmla="*/ 3217469 h 125"/>
              <a:gd name="T42" fmla="*/ 13936839 w 180"/>
              <a:gd name="T43" fmla="*/ 3217469 h 125"/>
              <a:gd name="T44" fmla="*/ 21403733 w 180"/>
              <a:gd name="T45" fmla="*/ 3217469 h 125"/>
              <a:gd name="T46" fmla="*/ 21403733 w 180"/>
              <a:gd name="T47" fmla="*/ 6434938 h 12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80"/>
              <a:gd name="T73" fmla="*/ 0 h 125"/>
              <a:gd name="T74" fmla="*/ 180 w 180"/>
              <a:gd name="T75" fmla="*/ 125 h 12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80" h="125">
                <a:moveTo>
                  <a:pt x="180" y="36"/>
                </a:moveTo>
                <a:lnTo>
                  <a:pt x="159" y="36"/>
                </a:lnTo>
                <a:lnTo>
                  <a:pt x="140" y="36"/>
                </a:lnTo>
                <a:lnTo>
                  <a:pt x="119" y="71"/>
                </a:lnTo>
                <a:lnTo>
                  <a:pt x="119" y="88"/>
                </a:lnTo>
                <a:lnTo>
                  <a:pt x="78" y="88"/>
                </a:lnTo>
                <a:lnTo>
                  <a:pt x="59" y="88"/>
                </a:lnTo>
                <a:lnTo>
                  <a:pt x="59" y="105"/>
                </a:lnTo>
                <a:lnTo>
                  <a:pt x="59" y="125"/>
                </a:lnTo>
                <a:lnTo>
                  <a:pt x="40" y="125"/>
                </a:lnTo>
                <a:lnTo>
                  <a:pt x="19" y="125"/>
                </a:lnTo>
                <a:lnTo>
                  <a:pt x="19" y="105"/>
                </a:lnTo>
                <a:lnTo>
                  <a:pt x="19" y="88"/>
                </a:lnTo>
                <a:lnTo>
                  <a:pt x="19" y="71"/>
                </a:lnTo>
                <a:lnTo>
                  <a:pt x="0" y="36"/>
                </a:lnTo>
                <a:lnTo>
                  <a:pt x="19" y="36"/>
                </a:lnTo>
                <a:lnTo>
                  <a:pt x="40" y="36"/>
                </a:lnTo>
                <a:lnTo>
                  <a:pt x="40" y="19"/>
                </a:lnTo>
                <a:lnTo>
                  <a:pt x="59" y="19"/>
                </a:lnTo>
                <a:lnTo>
                  <a:pt x="59" y="0"/>
                </a:lnTo>
                <a:lnTo>
                  <a:pt x="99" y="19"/>
                </a:lnTo>
                <a:lnTo>
                  <a:pt x="119" y="19"/>
                </a:lnTo>
                <a:lnTo>
                  <a:pt x="180" y="19"/>
                </a:lnTo>
                <a:lnTo>
                  <a:pt x="180" y="3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6" name="Freeform 152"/>
          <p:cNvSpPr>
            <a:spLocks/>
          </p:cNvSpPr>
          <p:nvPr/>
        </p:nvSpPr>
        <p:spPr bwMode="gray">
          <a:xfrm>
            <a:off x="1876425" y="2192338"/>
            <a:ext cx="30163" cy="25400"/>
          </a:xfrm>
          <a:custGeom>
            <a:avLst/>
            <a:gdLst>
              <a:gd name="T0" fmla="*/ 5440651 w 40"/>
              <a:gd name="T1" fmla="*/ 2914135 h 37"/>
              <a:gd name="T2" fmla="*/ 5440651 w 40"/>
              <a:gd name="T3" fmla="*/ 5828270 h 37"/>
              <a:gd name="T4" fmla="*/ 2720703 w 40"/>
              <a:gd name="T5" fmla="*/ 5828270 h 37"/>
              <a:gd name="T6" fmla="*/ 0 w 40"/>
              <a:gd name="T7" fmla="*/ 2914135 h 37"/>
              <a:gd name="T8" fmla="*/ 0 w 40"/>
              <a:gd name="T9" fmla="*/ 0 h 37"/>
              <a:gd name="T10" fmla="*/ 2720703 w 40"/>
              <a:gd name="T11" fmla="*/ 0 h 37"/>
              <a:gd name="T12" fmla="*/ 5440651 w 40"/>
              <a:gd name="T13" fmla="*/ 2914135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37"/>
              <a:gd name="T23" fmla="*/ 40 w 40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37">
                <a:moveTo>
                  <a:pt x="40" y="17"/>
                </a:moveTo>
                <a:lnTo>
                  <a:pt x="40" y="37"/>
                </a:lnTo>
                <a:lnTo>
                  <a:pt x="19" y="37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lnTo>
                  <a:pt x="40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7" name="Freeform 153"/>
          <p:cNvSpPr>
            <a:spLocks/>
          </p:cNvSpPr>
          <p:nvPr/>
        </p:nvSpPr>
        <p:spPr bwMode="gray">
          <a:xfrm>
            <a:off x="1906588" y="2282825"/>
            <a:ext cx="26987" cy="23813"/>
          </a:xfrm>
          <a:custGeom>
            <a:avLst/>
            <a:gdLst>
              <a:gd name="T0" fmla="*/ 1600392 w 43"/>
              <a:gd name="T1" fmla="*/ 0 h 34"/>
              <a:gd name="T2" fmla="*/ 3201411 w 43"/>
              <a:gd name="T3" fmla="*/ 2927598 h 34"/>
              <a:gd name="T4" fmla="*/ 1600392 w 43"/>
              <a:gd name="T5" fmla="*/ 5367030 h 34"/>
              <a:gd name="T6" fmla="*/ 0 w 43"/>
              <a:gd name="T7" fmla="*/ 5367030 h 34"/>
              <a:gd name="T8" fmla="*/ 0 w 43"/>
              <a:gd name="T9" fmla="*/ 2927598 h 34"/>
              <a:gd name="T10" fmla="*/ 0 w 43"/>
              <a:gd name="T11" fmla="*/ 0 h 34"/>
              <a:gd name="T12" fmla="*/ 1600392 w 43"/>
              <a:gd name="T13" fmla="*/ 0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3"/>
              <a:gd name="T22" fmla="*/ 0 h 34"/>
              <a:gd name="T23" fmla="*/ 43 w 43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3" h="34">
                <a:moveTo>
                  <a:pt x="21" y="0"/>
                </a:moveTo>
                <a:lnTo>
                  <a:pt x="43" y="17"/>
                </a:lnTo>
                <a:lnTo>
                  <a:pt x="21" y="34"/>
                </a:lnTo>
                <a:lnTo>
                  <a:pt x="0" y="34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8" name="Freeform 154"/>
          <p:cNvSpPr>
            <a:spLocks/>
          </p:cNvSpPr>
          <p:nvPr/>
        </p:nvSpPr>
        <p:spPr bwMode="gray">
          <a:xfrm>
            <a:off x="1890713" y="2116138"/>
            <a:ext cx="142875" cy="76200"/>
          </a:xfrm>
          <a:custGeom>
            <a:avLst/>
            <a:gdLst>
              <a:gd name="T0" fmla="*/ 16185496 w 204"/>
              <a:gd name="T1" fmla="*/ 15766869 h 105"/>
              <a:gd name="T2" fmla="*/ 11771079 w 204"/>
              <a:gd name="T3" fmla="*/ 12087497 h 105"/>
              <a:gd name="T4" fmla="*/ 9318392 w 204"/>
              <a:gd name="T5" fmla="*/ 12087497 h 105"/>
              <a:gd name="T6" fmla="*/ 7356662 w 204"/>
              <a:gd name="T7" fmla="*/ 12087497 h 105"/>
              <a:gd name="T8" fmla="*/ 4904675 w 204"/>
              <a:gd name="T9" fmla="*/ 12087497 h 105"/>
              <a:gd name="T10" fmla="*/ 2451987 w 204"/>
              <a:gd name="T11" fmla="*/ 12087497 h 105"/>
              <a:gd name="T12" fmla="*/ 2451987 w 204"/>
              <a:gd name="T13" fmla="*/ 8934269 h 105"/>
              <a:gd name="T14" fmla="*/ 4904675 w 204"/>
              <a:gd name="T15" fmla="*/ 8934269 h 105"/>
              <a:gd name="T16" fmla="*/ 2451987 w 204"/>
              <a:gd name="T17" fmla="*/ 8934269 h 105"/>
              <a:gd name="T18" fmla="*/ 2451987 w 204"/>
              <a:gd name="T19" fmla="*/ 6306457 h 105"/>
              <a:gd name="T20" fmla="*/ 0 w 204"/>
              <a:gd name="T21" fmla="*/ 6306457 h 105"/>
              <a:gd name="T22" fmla="*/ 0 w 204"/>
              <a:gd name="T23" fmla="*/ 2627811 h 105"/>
              <a:gd name="T24" fmla="*/ 2451987 w 204"/>
              <a:gd name="T25" fmla="*/ 2627811 h 105"/>
              <a:gd name="T26" fmla="*/ 2451987 w 204"/>
              <a:gd name="T27" fmla="*/ 0 h 105"/>
              <a:gd name="T28" fmla="*/ 4904675 w 204"/>
              <a:gd name="T29" fmla="*/ 2627811 h 105"/>
              <a:gd name="T30" fmla="*/ 7356662 w 204"/>
              <a:gd name="T31" fmla="*/ 2627811 h 105"/>
              <a:gd name="T32" fmla="*/ 9318392 w 204"/>
              <a:gd name="T33" fmla="*/ 6306457 h 105"/>
              <a:gd name="T34" fmla="*/ 9318392 w 204"/>
              <a:gd name="T35" fmla="*/ 2627811 h 105"/>
              <a:gd name="T36" fmla="*/ 11771079 w 204"/>
              <a:gd name="T37" fmla="*/ 2627811 h 105"/>
              <a:gd name="T38" fmla="*/ 14223066 w 204"/>
              <a:gd name="T39" fmla="*/ 6306457 h 105"/>
              <a:gd name="T40" fmla="*/ 14223066 w 204"/>
              <a:gd name="T41" fmla="*/ 8934269 h 105"/>
              <a:gd name="T42" fmla="*/ 16185496 w 204"/>
              <a:gd name="T43" fmla="*/ 8934269 h 105"/>
              <a:gd name="T44" fmla="*/ 16185496 w 204"/>
              <a:gd name="T45" fmla="*/ 6306457 h 105"/>
              <a:gd name="T46" fmla="*/ 18637483 w 204"/>
              <a:gd name="T47" fmla="*/ 6306457 h 105"/>
              <a:gd name="T48" fmla="*/ 18637483 w 204"/>
              <a:gd name="T49" fmla="*/ 8934269 h 105"/>
              <a:gd name="T50" fmla="*/ 21089471 w 204"/>
              <a:gd name="T51" fmla="*/ 8934269 h 105"/>
              <a:gd name="T52" fmla="*/ 18637483 w 204"/>
              <a:gd name="T53" fmla="*/ 8934269 h 105"/>
              <a:gd name="T54" fmla="*/ 21089471 w 204"/>
              <a:gd name="T55" fmla="*/ 12087497 h 105"/>
              <a:gd name="T56" fmla="*/ 23542158 w 204"/>
              <a:gd name="T57" fmla="*/ 15766869 h 105"/>
              <a:gd name="T58" fmla="*/ 23542158 w 204"/>
              <a:gd name="T59" fmla="*/ 18394680 h 105"/>
              <a:gd name="T60" fmla="*/ 21089471 w 204"/>
              <a:gd name="T61" fmla="*/ 18394680 h 105"/>
              <a:gd name="T62" fmla="*/ 18637483 w 204"/>
              <a:gd name="T63" fmla="*/ 18394680 h 105"/>
              <a:gd name="T64" fmla="*/ 18637483 w 204"/>
              <a:gd name="T65" fmla="*/ 15766869 h 105"/>
              <a:gd name="T66" fmla="*/ 16185496 w 204"/>
              <a:gd name="T67" fmla="*/ 15766869 h 10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4"/>
              <a:gd name="T103" fmla="*/ 0 h 105"/>
              <a:gd name="T104" fmla="*/ 204 w 204"/>
              <a:gd name="T105" fmla="*/ 105 h 10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4" h="105">
                <a:moveTo>
                  <a:pt x="142" y="88"/>
                </a:moveTo>
                <a:lnTo>
                  <a:pt x="104" y="69"/>
                </a:lnTo>
                <a:lnTo>
                  <a:pt x="83" y="69"/>
                </a:lnTo>
                <a:lnTo>
                  <a:pt x="64" y="69"/>
                </a:lnTo>
                <a:lnTo>
                  <a:pt x="42" y="69"/>
                </a:lnTo>
                <a:lnTo>
                  <a:pt x="21" y="69"/>
                </a:lnTo>
                <a:lnTo>
                  <a:pt x="21" y="51"/>
                </a:lnTo>
                <a:lnTo>
                  <a:pt x="42" y="51"/>
                </a:lnTo>
                <a:lnTo>
                  <a:pt x="21" y="51"/>
                </a:lnTo>
                <a:lnTo>
                  <a:pt x="21" y="34"/>
                </a:lnTo>
                <a:lnTo>
                  <a:pt x="0" y="34"/>
                </a:lnTo>
                <a:lnTo>
                  <a:pt x="0" y="15"/>
                </a:lnTo>
                <a:lnTo>
                  <a:pt x="21" y="15"/>
                </a:lnTo>
                <a:lnTo>
                  <a:pt x="21" y="0"/>
                </a:lnTo>
                <a:lnTo>
                  <a:pt x="42" y="15"/>
                </a:lnTo>
                <a:lnTo>
                  <a:pt x="64" y="15"/>
                </a:lnTo>
                <a:lnTo>
                  <a:pt x="83" y="34"/>
                </a:lnTo>
                <a:lnTo>
                  <a:pt x="83" y="15"/>
                </a:lnTo>
                <a:lnTo>
                  <a:pt x="104" y="15"/>
                </a:lnTo>
                <a:lnTo>
                  <a:pt x="123" y="34"/>
                </a:lnTo>
                <a:lnTo>
                  <a:pt x="123" y="51"/>
                </a:lnTo>
                <a:lnTo>
                  <a:pt x="142" y="51"/>
                </a:lnTo>
                <a:lnTo>
                  <a:pt x="142" y="34"/>
                </a:lnTo>
                <a:lnTo>
                  <a:pt x="163" y="34"/>
                </a:lnTo>
                <a:lnTo>
                  <a:pt x="163" y="51"/>
                </a:lnTo>
                <a:lnTo>
                  <a:pt x="183" y="51"/>
                </a:lnTo>
                <a:lnTo>
                  <a:pt x="163" y="51"/>
                </a:lnTo>
                <a:lnTo>
                  <a:pt x="183" y="69"/>
                </a:lnTo>
                <a:lnTo>
                  <a:pt x="204" y="88"/>
                </a:lnTo>
                <a:lnTo>
                  <a:pt x="204" y="105"/>
                </a:lnTo>
                <a:lnTo>
                  <a:pt x="183" y="105"/>
                </a:lnTo>
                <a:lnTo>
                  <a:pt x="163" y="105"/>
                </a:lnTo>
                <a:lnTo>
                  <a:pt x="163" y="88"/>
                </a:lnTo>
                <a:lnTo>
                  <a:pt x="142" y="8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49" name="Freeform 155"/>
          <p:cNvSpPr>
            <a:spLocks/>
          </p:cNvSpPr>
          <p:nvPr/>
        </p:nvSpPr>
        <p:spPr bwMode="gray">
          <a:xfrm>
            <a:off x="2087563" y="2217738"/>
            <a:ext cx="379412" cy="103187"/>
          </a:xfrm>
          <a:custGeom>
            <a:avLst/>
            <a:gdLst>
              <a:gd name="T0" fmla="*/ 59361239 w 544"/>
              <a:gd name="T1" fmla="*/ 18534965 h 144"/>
              <a:gd name="T2" fmla="*/ 59361239 w 544"/>
              <a:gd name="T3" fmla="*/ 21109624 h 144"/>
              <a:gd name="T4" fmla="*/ 61793940 w 544"/>
              <a:gd name="T5" fmla="*/ 21109624 h 144"/>
              <a:gd name="T6" fmla="*/ 59361239 w 544"/>
              <a:gd name="T7" fmla="*/ 24713287 h 144"/>
              <a:gd name="T8" fmla="*/ 54981960 w 544"/>
              <a:gd name="T9" fmla="*/ 24713287 h 144"/>
              <a:gd name="T10" fmla="*/ 50602681 w 544"/>
              <a:gd name="T11" fmla="*/ 24713287 h 144"/>
              <a:gd name="T12" fmla="*/ 48169980 w 544"/>
              <a:gd name="T13" fmla="*/ 24713287 h 144"/>
              <a:gd name="T14" fmla="*/ 45737280 w 544"/>
              <a:gd name="T15" fmla="*/ 24713287 h 144"/>
              <a:gd name="T16" fmla="*/ 41358000 w 544"/>
              <a:gd name="T17" fmla="*/ 24713287 h 144"/>
              <a:gd name="T18" fmla="*/ 36492599 w 544"/>
              <a:gd name="T19" fmla="*/ 24713287 h 144"/>
              <a:gd name="T20" fmla="*/ 34546021 w 544"/>
              <a:gd name="T21" fmla="*/ 24713287 h 144"/>
              <a:gd name="T22" fmla="*/ 32113320 w 544"/>
              <a:gd name="T23" fmla="*/ 24713287 h 144"/>
              <a:gd name="T24" fmla="*/ 29680620 w 544"/>
              <a:gd name="T25" fmla="*/ 24713287 h 144"/>
              <a:gd name="T26" fmla="*/ 27734041 w 544"/>
              <a:gd name="T27" fmla="*/ 24713287 h 144"/>
              <a:gd name="T28" fmla="*/ 25301340 w 544"/>
              <a:gd name="T29" fmla="*/ 24713287 h 144"/>
              <a:gd name="T30" fmla="*/ 20922061 w 544"/>
              <a:gd name="T31" fmla="*/ 24713287 h 144"/>
              <a:gd name="T32" fmla="*/ 16056660 w 544"/>
              <a:gd name="T33" fmla="*/ 21109624 h 144"/>
              <a:gd name="T34" fmla="*/ 13623960 w 544"/>
              <a:gd name="T35" fmla="*/ 18534965 h 144"/>
              <a:gd name="T36" fmla="*/ 16056660 w 544"/>
              <a:gd name="T37" fmla="*/ 18534965 h 144"/>
              <a:gd name="T38" fmla="*/ 16056660 w 544"/>
              <a:gd name="T39" fmla="*/ 15445804 h 144"/>
              <a:gd name="T40" fmla="*/ 13623960 w 544"/>
              <a:gd name="T41" fmla="*/ 15445804 h 144"/>
              <a:gd name="T42" fmla="*/ 11191259 w 544"/>
              <a:gd name="T43" fmla="*/ 9267482 h 144"/>
              <a:gd name="T44" fmla="*/ 11191259 w 544"/>
              <a:gd name="T45" fmla="*/ 6178322 h 144"/>
              <a:gd name="T46" fmla="*/ 9244680 w 544"/>
              <a:gd name="T47" fmla="*/ 9267482 h 144"/>
              <a:gd name="T48" fmla="*/ 4865401 w 544"/>
              <a:gd name="T49" fmla="*/ 6178322 h 144"/>
              <a:gd name="T50" fmla="*/ 2432700 w 544"/>
              <a:gd name="T51" fmla="*/ 3089161 h 144"/>
              <a:gd name="T52" fmla="*/ 0 w 544"/>
              <a:gd name="T53" fmla="*/ 3089161 h 144"/>
              <a:gd name="T54" fmla="*/ 2432700 w 544"/>
              <a:gd name="T55" fmla="*/ 3089161 h 144"/>
              <a:gd name="T56" fmla="*/ 2432700 w 544"/>
              <a:gd name="T57" fmla="*/ 0 h 144"/>
              <a:gd name="T58" fmla="*/ 9244680 w 544"/>
              <a:gd name="T59" fmla="*/ 3089161 h 144"/>
              <a:gd name="T60" fmla="*/ 13623960 w 544"/>
              <a:gd name="T61" fmla="*/ 6178322 h 144"/>
              <a:gd name="T62" fmla="*/ 16056660 w 544"/>
              <a:gd name="T63" fmla="*/ 6178322 h 144"/>
              <a:gd name="T64" fmla="*/ 16056660 w 544"/>
              <a:gd name="T65" fmla="*/ 3089161 h 144"/>
              <a:gd name="T66" fmla="*/ 18489361 w 544"/>
              <a:gd name="T67" fmla="*/ 3089161 h 144"/>
              <a:gd name="T68" fmla="*/ 18489361 w 544"/>
              <a:gd name="T69" fmla="*/ 6178322 h 144"/>
              <a:gd name="T70" fmla="*/ 22868640 w 544"/>
              <a:gd name="T71" fmla="*/ 9267482 h 144"/>
              <a:gd name="T72" fmla="*/ 25301340 w 544"/>
              <a:gd name="T73" fmla="*/ 9267482 h 144"/>
              <a:gd name="T74" fmla="*/ 20922061 w 544"/>
              <a:gd name="T75" fmla="*/ 9267482 h 144"/>
              <a:gd name="T76" fmla="*/ 18489361 w 544"/>
              <a:gd name="T77" fmla="*/ 9267482 h 144"/>
              <a:gd name="T78" fmla="*/ 20922061 w 544"/>
              <a:gd name="T79" fmla="*/ 15445804 h 144"/>
              <a:gd name="T80" fmla="*/ 22868640 w 544"/>
              <a:gd name="T81" fmla="*/ 15445804 h 144"/>
              <a:gd name="T82" fmla="*/ 25301340 w 544"/>
              <a:gd name="T83" fmla="*/ 15445804 h 144"/>
              <a:gd name="T84" fmla="*/ 29680620 w 544"/>
              <a:gd name="T85" fmla="*/ 15445804 h 144"/>
              <a:gd name="T86" fmla="*/ 32113320 w 544"/>
              <a:gd name="T87" fmla="*/ 18534965 h 144"/>
              <a:gd name="T88" fmla="*/ 34546021 w 544"/>
              <a:gd name="T89" fmla="*/ 18534965 h 144"/>
              <a:gd name="T90" fmla="*/ 38925300 w 544"/>
              <a:gd name="T91" fmla="*/ 15445804 h 144"/>
              <a:gd name="T92" fmla="*/ 45737280 w 544"/>
              <a:gd name="T93" fmla="*/ 15445804 h 144"/>
              <a:gd name="T94" fmla="*/ 50602681 w 544"/>
              <a:gd name="T95" fmla="*/ 15445804 h 144"/>
              <a:gd name="T96" fmla="*/ 54981960 w 544"/>
              <a:gd name="T97" fmla="*/ 15445804 h 144"/>
              <a:gd name="T98" fmla="*/ 56927841 w 544"/>
              <a:gd name="T99" fmla="*/ 15445804 h 144"/>
              <a:gd name="T100" fmla="*/ 61793940 w 544"/>
              <a:gd name="T101" fmla="*/ 18534965 h 144"/>
              <a:gd name="T102" fmla="*/ 59361239 w 544"/>
              <a:gd name="T103" fmla="*/ 18534965 h 14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44"/>
              <a:gd name="T157" fmla="*/ 0 h 144"/>
              <a:gd name="T158" fmla="*/ 544 w 544"/>
              <a:gd name="T159" fmla="*/ 144 h 14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44" h="144">
                <a:moveTo>
                  <a:pt x="523" y="107"/>
                </a:moveTo>
                <a:lnTo>
                  <a:pt x="523" y="124"/>
                </a:lnTo>
                <a:lnTo>
                  <a:pt x="544" y="124"/>
                </a:lnTo>
                <a:lnTo>
                  <a:pt x="523" y="144"/>
                </a:lnTo>
                <a:lnTo>
                  <a:pt x="482" y="144"/>
                </a:lnTo>
                <a:lnTo>
                  <a:pt x="444" y="144"/>
                </a:lnTo>
                <a:lnTo>
                  <a:pt x="423" y="144"/>
                </a:lnTo>
                <a:lnTo>
                  <a:pt x="404" y="144"/>
                </a:lnTo>
                <a:lnTo>
                  <a:pt x="363" y="144"/>
                </a:lnTo>
                <a:lnTo>
                  <a:pt x="323" y="144"/>
                </a:lnTo>
                <a:lnTo>
                  <a:pt x="304" y="144"/>
                </a:lnTo>
                <a:lnTo>
                  <a:pt x="283" y="144"/>
                </a:lnTo>
                <a:lnTo>
                  <a:pt x="263" y="144"/>
                </a:lnTo>
                <a:lnTo>
                  <a:pt x="242" y="144"/>
                </a:lnTo>
                <a:lnTo>
                  <a:pt x="221" y="144"/>
                </a:lnTo>
                <a:lnTo>
                  <a:pt x="181" y="144"/>
                </a:lnTo>
                <a:lnTo>
                  <a:pt x="141" y="124"/>
                </a:lnTo>
                <a:lnTo>
                  <a:pt x="121" y="107"/>
                </a:lnTo>
                <a:lnTo>
                  <a:pt x="141" y="107"/>
                </a:lnTo>
                <a:lnTo>
                  <a:pt x="141" y="90"/>
                </a:lnTo>
                <a:lnTo>
                  <a:pt x="121" y="90"/>
                </a:lnTo>
                <a:lnTo>
                  <a:pt x="100" y="53"/>
                </a:lnTo>
                <a:lnTo>
                  <a:pt x="100" y="36"/>
                </a:lnTo>
                <a:lnTo>
                  <a:pt x="81" y="53"/>
                </a:lnTo>
                <a:lnTo>
                  <a:pt x="41" y="36"/>
                </a:lnTo>
                <a:lnTo>
                  <a:pt x="22" y="17"/>
                </a:lnTo>
                <a:lnTo>
                  <a:pt x="0" y="17"/>
                </a:lnTo>
                <a:lnTo>
                  <a:pt x="22" y="17"/>
                </a:lnTo>
                <a:lnTo>
                  <a:pt x="22" y="0"/>
                </a:lnTo>
                <a:lnTo>
                  <a:pt x="81" y="17"/>
                </a:lnTo>
                <a:lnTo>
                  <a:pt x="121" y="36"/>
                </a:lnTo>
                <a:lnTo>
                  <a:pt x="141" y="36"/>
                </a:lnTo>
                <a:lnTo>
                  <a:pt x="141" y="17"/>
                </a:lnTo>
                <a:lnTo>
                  <a:pt x="162" y="17"/>
                </a:lnTo>
                <a:lnTo>
                  <a:pt x="162" y="36"/>
                </a:lnTo>
                <a:lnTo>
                  <a:pt x="202" y="53"/>
                </a:lnTo>
                <a:lnTo>
                  <a:pt x="221" y="53"/>
                </a:lnTo>
                <a:lnTo>
                  <a:pt x="181" y="53"/>
                </a:lnTo>
                <a:lnTo>
                  <a:pt x="162" y="53"/>
                </a:lnTo>
                <a:lnTo>
                  <a:pt x="181" y="90"/>
                </a:lnTo>
                <a:lnTo>
                  <a:pt x="202" y="90"/>
                </a:lnTo>
                <a:lnTo>
                  <a:pt x="221" y="90"/>
                </a:lnTo>
                <a:lnTo>
                  <a:pt x="263" y="90"/>
                </a:lnTo>
                <a:lnTo>
                  <a:pt x="283" y="107"/>
                </a:lnTo>
                <a:lnTo>
                  <a:pt x="304" y="107"/>
                </a:lnTo>
                <a:lnTo>
                  <a:pt x="342" y="90"/>
                </a:lnTo>
                <a:lnTo>
                  <a:pt x="404" y="90"/>
                </a:lnTo>
                <a:lnTo>
                  <a:pt x="444" y="90"/>
                </a:lnTo>
                <a:lnTo>
                  <a:pt x="482" y="90"/>
                </a:lnTo>
                <a:lnTo>
                  <a:pt x="503" y="90"/>
                </a:lnTo>
                <a:lnTo>
                  <a:pt x="544" y="107"/>
                </a:lnTo>
                <a:lnTo>
                  <a:pt x="523" y="10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0" name="Freeform 156"/>
          <p:cNvSpPr>
            <a:spLocks/>
          </p:cNvSpPr>
          <p:nvPr/>
        </p:nvSpPr>
        <p:spPr bwMode="gray">
          <a:xfrm>
            <a:off x="2087563" y="2282825"/>
            <a:ext cx="69850" cy="38100"/>
          </a:xfrm>
          <a:custGeom>
            <a:avLst/>
            <a:gdLst>
              <a:gd name="T0" fmla="*/ 2418906 w 100"/>
              <a:gd name="T1" fmla="*/ 3029656 h 54"/>
              <a:gd name="T2" fmla="*/ 2418906 w 100"/>
              <a:gd name="T3" fmla="*/ 0 h 54"/>
              <a:gd name="T4" fmla="*/ 6773355 w 100"/>
              <a:gd name="T5" fmla="*/ 0 h 54"/>
              <a:gd name="T6" fmla="*/ 9192260 w 100"/>
              <a:gd name="T7" fmla="*/ 0 h 54"/>
              <a:gd name="T8" fmla="*/ 9192260 w 100"/>
              <a:gd name="T9" fmla="*/ 3029656 h 54"/>
              <a:gd name="T10" fmla="*/ 11127804 w 100"/>
              <a:gd name="T11" fmla="*/ 5554133 h 54"/>
              <a:gd name="T12" fmla="*/ 9192260 w 100"/>
              <a:gd name="T13" fmla="*/ 9088261 h 54"/>
              <a:gd name="T14" fmla="*/ 6773355 w 100"/>
              <a:gd name="T15" fmla="*/ 9088261 h 54"/>
              <a:gd name="T16" fmla="*/ 2418906 w 100"/>
              <a:gd name="T17" fmla="*/ 5554133 h 54"/>
              <a:gd name="T18" fmla="*/ 0 w 100"/>
              <a:gd name="T19" fmla="*/ 5554133 h 54"/>
              <a:gd name="T20" fmla="*/ 2418906 w 100"/>
              <a:gd name="T21" fmla="*/ 3029656 h 5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"/>
              <a:gd name="T34" fmla="*/ 0 h 54"/>
              <a:gd name="T35" fmla="*/ 100 w 100"/>
              <a:gd name="T36" fmla="*/ 54 h 5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" h="54">
                <a:moveTo>
                  <a:pt x="22" y="17"/>
                </a:moveTo>
                <a:lnTo>
                  <a:pt x="22" y="0"/>
                </a:lnTo>
                <a:lnTo>
                  <a:pt x="62" y="0"/>
                </a:lnTo>
                <a:lnTo>
                  <a:pt x="81" y="0"/>
                </a:lnTo>
                <a:lnTo>
                  <a:pt x="81" y="17"/>
                </a:lnTo>
                <a:lnTo>
                  <a:pt x="100" y="34"/>
                </a:lnTo>
                <a:lnTo>
                  <a:pt x="81" y="54"/>
                </a:lnTo>
                <a:lnTo>
                  <a:pt x="62" y="54"/>
                </a:lnTo>
                <a:lnTo>
                  <a:pt x="22" y="34"/>
                </a:lnTo>
                <a:lnTo>
                  <a:pt x="0" y="34"/>
                </a:lnTo>
                <a:lnTo>
                  <a:pt x="22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1" name="Freeform 157"/>
          <p:cNvSpPr>
            <a:spLocks/>
          </p:cNvSpPr>
          <p:nvPr/>
        </p:nvSpPr>
        <p:spPr bwMode="gray">
          <a:xfrm>
            <a:off x="2044700" y="2139950"/>
            <a:ext cx="85725" cy="52388"/>
          </a:xfrm>
          <a:custGeom>
            <a:avLst/>
            <a:gdLst>
              <a:gd name="T0" fmla="*/ 5069111 w 121"/>
              <a:gd name="T1" fmla="*/ 13603171 h 71"/>
              <a:gd name="T2" fmla="*/ 5069111 w 121"/>
              <a:gd name="T3" fmla="*/ 10338145 h 71"/>
              <a:gd name="T4" fmla="*/ 2534910 w 121"/>
              <a:gd name="T5" fmla="*/ 6529316 h 71"/>
              <a:gd name="T6" fmla="*/ 0 w 121"/>
              <a:gd name="T7" fmla="*/ 3265027 h 71"/>
              <a:gd name="T8" fmla="*/ 2534910 w 121"/>
              <a:gd name="T9" fmla="*/ 0 h 71"/>
              <a:gd name="T10" fmla="*/ 5069111 w 121"/>
              <a:gd name="T11" fmla="*/ 0 h 71"/>
              <a:gd name="T12" fmla="*/ 5069111 w 121"/>
              <a:gd name="T13" fmla="*/ 3265027 h 71"/>
              <a:gd name="T14" fmla="*/ 7097463 w 121"/>
              <a:gd name="T15" fmla="*/ 3265027 h 71"/>
              <a:gd name="T16" fmla="*/ 10138930 w 121"/>
              <a:gd name="T17" fmla="*/ 3265027 h 71"/>
              <a:gd name="T18" fmla="*/ 12673839 w 121"/>
              <a:gd name="T19" fmla="*/ 3265027 h 71"/>
              <a:gd name="T20" fmla="*/ 15208040 w 121"/>
              <a:gd name="T21" fmla="*/ 6529316 h 71"/>
              <a:gd name="T22" fmla="*/ 12673839 w 121"/>
              <a:gd name="T23" fmla="*/ 6529316 h 71"/>
              <a:gd name="T24" fmla="*/ 12673839 w 121"/>
              <a:gd name="T25" fmla="*/ 10338145 h 71"/>
              <a:gd name="T26" fmla="*/ 15208040 w 121"/>
              <a:gd name="T27" fmla="*/ 13603171 h 71"/>
              <a:gd name="T28" fmla="*/ 10138930 w 121"/>
              <a:gd name="T29" fmla="*/ 13603171 h 71"/>
              <a:gd name="T30" fmla="*/ 5069111 w 121"/>
              <a:gd name="T31" fmla="*/ 13603171 h 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1"/>
              <a:gd name="T49" fmla="*/ 0 h 71"/>
              <a:gd name="T50" fmla="*/ 121 w 121"/>
              <a:gd name="T51" fmla="*/ 71 h 7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1" h="71">
                <a:moveTo>
                  <a:pt x="40" y="71"/>
                </a:moveTo>
                <a:lnTo>
                  <a:pt x="40" y="54"/>
                </a:lnTo>
                <a:lnTo>
                  <a:pt x="21" y="35"/>
                </a:lnTo>
                <a:lnTo>
                  <a:pt x="0" y="17"/>
                </a:lnTo>
                <a:lnTo>
                  <a:pt x="21" y="0"/>
                </a:lnTo>
                <a:lnTo>
                  <a:pt x="40" y="0"/>
                </a:lnTo>
                <a:lnTo>
                  <a:pt x="40" y="17"/>
                </a:lnTo>
                <a:lnTo>
                  <a:pt x="59" y="17"/>
                </a:lnTo>
                <a:lnTo>
                  <a:pt x="81" y="17"/>
                </a:lnTo>
                <a:lnTo>
                  <a:pt x="100" y="17"/>
                </a:lnTo>
                <a:lnTo>
                  <a:pt x="121" y="35"/>
                </a:lnTo>
                <a:lnTo>
                  <a:pt x="100" y="35"/>
                </a:lnTo>
                <a:lnTo>
                  <a:pt x="100" y="54"/>
                </a:lnTo>
                <a:lnTo>
                  <a:pt x="121" y="71"/>
                </a:lnTo>
                <a:lnTo>
                  <a:pt x="81" y="71"/>
                </a:lnTo>
                <a:lnTo>
                  <a:pt x="40" y="71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2" name="Freeform 158"/>
          <p:cNvSpPr>
            <a:spLocks/>
          </p:cNvSpPr>
          <p:nvPr/>
        </p:nvSpPr>
        <p:spPr bwMode="gray">
          <a:xfrm>
            <a:off x="2017713" y="2089150"/>
            <a:ext cx="26987" cy="12700"/>
          </a:xfrm>
          <a:custGeom>
            <a:avLst/>
            <a:gdLst>
              <a:gd name="T0" fmla="*/ 4162070 w 40"/>
              <a:gd name="T1" fmla="*/ 0 h 19"/>
              <a:gd name="T2" fmla="*/ 4162070 w 40"/>
              <a:gd name="T3" fmla="*/ 2192421 h 19"/>
              <a:gd name="T4" fmla="*/ 2312111 w 40"/>
              <a:gd name="T5" fmla="*/ 2192421 h 19"/>
              <a:gd name="T6" fmla="*/ 0 w 40"/>
              <a:gd name="T7" fmla="*/ 0 h 19"/>
              <a:gd name="T8" fmla="*/ 2312111 w 40"/>
              <a:gd name="T9" fmla="*/ 0 h 19"/>
              <a:gd name="T10" fmla="*/ 4162070 w 40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19"/>
              <a:gd name="T20" fmla="*/ 40 w 40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19">
                <a:moveTo>
                  <a:pt x="40" y="0"/>
                </a:moveTo>
                <a:lnTo>
                  <a:pt x="40" y="19"/>
                </a:lnTo>
                <a:lnTo>
                  <a:pt x="21" y="19"/>
                </a:lnTo>
                <a:lnTo>
                  <a:pt x="0" y="0"/>
                </a:lnTo>
                <a:lnTo>
                  <a:pt x="21" y="0"/>
                </a:lnTo>
                <a:lnTo>
                  <a:pt x="40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3" name="Freeform 159"/>
          <p:cNvSpPr>
            <a:spLocks/>
          </p:cNvSpPr>
          <p:nvPr/>
        </p:nvSpPr>
        <p:spPr bwMode="gray">
          <a:xfrm>
            <a:off x="2101850" y="2024063"/>
            <a:ext cx="223838" cy="153987"/>
          </a:xfrm>
          <a:custGeom>
            <a:avLst/>
            <a:gdLst>
              <a:gd name="T0" fmla="*/ 27868530 w 320"/>
              <a:gd name="T1" fmla="*/ 15448119 h 215"/>
              <a:gd name="T2" fmla="*/ 29824315 w 320"/>
              <a:gd name="T3" fmla="*/ 12358352 h 215"/>
              <a:gd name="T4" fmla="*/ 29824315 w 320"/>
              <a:gd name="T5" fmla="*/ 18537170 h 215"/>
              <a:gd name="T6" fmla="*/ 34713077 w 320"/>
              <a:gd name="T7" fmla="*/ 18537170 h 215"/>
              <a:gd name="T8" fmla="*/ 36668861 w 320"/>
              <a:gd name="T9" fmla="*/ 24201743 h 215"/>
              <a:gd name="T10" fmla="*/ 29824315 w 320"/>
              <a:gd name="T11" fmla="*/ 30380561 h 215"/>
              <a:gd name="T12" fmla="*/ 27868530 w 320"/>
              <a:gd name="T13" fmla="*/ 27805755 h 215"/>
              <a:gd name="T14" fmla="*/ 25423800 w 320"/>
              <a:gd name="T15" fmla="*/ 30380561 h 215"/>
              <a:gd name="T16" fmla="*/ 27868530 w 320"/>
              <a:gd name="T17" fmla="*/ 33470328 h 215"/>
              <a:gd name="T18" fmla="*/ 25423800 w 320"/>
              <a:gd name="T19" fmla="*/ 37075056 h 215"/>
              <a:gd name="T20" fmla="*/ 22490123 w 320"/>
              <a:gd name="T21" fmla="*/ 30380561 h 215"/>
              <a:gd name="T22" fmla="*/ 20534339 w 320"/>
              <a:gd name="T23" fmla="*/ 37075056 h 215"/>
              <a:gd name="T24" fmla="*/ 16134523 w 320"/>
              <a:gd name="T25" fmla="*/ 37075056 h 215"/>
              <a:gd name="T26" fmla="*/ 13689792 w 320"/>
              <a:gd name="T27" fmla="*/ 30380561 h 215"/>
              <a:gd name="T28" fmla="*/ 8800331 w 320"/>
              <a:gd name="T29" fmla="*/ 27805755 h 215"/>
              <a:gd name="T30" fmla="*/ 13689792 w 320"/>
              <a:gd name="T31" fmla="*/ 24201743 h 215"/>
              <a:gd name="T32" fmla="*/ 16134523 w 320"/>
              <a:gd name="T33" fmla="*/ 24201743 h 215"/>
              <a:gd name="T34" fmla="*/ 11245062 w 320"/>
              <a:gd name="T35" fmla="*/ 21626937 h 215"/>
              <a:gd name="T36" fmla="*/ 8800331 w 320"/>
              <a:gd name="T37" fmla="*/ 24201743 h 215"/>
              <a:gd name="T38" fmla="*/ 6844546 w 320"/>
              <a:gd name="T39" fmla="*/ 24201743 h 215"/>
              <a:gd name="T40" fmla="*/ 6844546 w 320"/>
              <a:gd name="T41" fmla="*/ 21626937 h 215"/>
              <a:gd name="T42" fmla="*/ 4400515 w 320"/>
              <a:gd name="T43" fmla="*/ 18537170 h 215"/>
              <a:gd name="T44" fmla="*/ 0 w 320"/>
              <a:gd name="T45" fmla="*/ 15448119 h 215"/>
              <a:gd name="T46" fmla="*/ 4400515 w 320"/>
              <a:gd name="T47" fmla="*/ 15448119 h 215"/>
              <a:gd name="T48" fmla="*/ 4400515 w 320"/>
              <a:gd name="T49" fmla="*/ 12358352 h 215"/>
              <a:gd name="T50" fmla="*/ 0 w 320"/>
              <a:gd name="T51" fmla="*/ 9268585 h 215"/>
              <a:gd name="T52" fmla="*/ 4400515 w 320"/>
              <a:gd name="T53" fmla="*/ 9268585 h 215"/>
              <a:gd name="T54" fmla="*/ 8800331 w 320"/>
              <a:gd name="T55" fmla="*/ 9268585 h 215"/>
              <a:gd name="T56" fmla="*/ 4400515 w 320"/>
              <a:gd name="T57" fmla="*/ 9268585 h 215"/>
              <a:gd name="T58" fmla="*/ 6844546 w 320"/>
              <a:gd name="T59" fmla="*/ 3089767 h 215"/>
              <a:gd name="T60" fmla="*/ 8800331 w 320"/>
              <a:gd name="T61" fmla="*/ 6178818 h 215"/>
              <a:gd name="T62" fmla="*/ 8800331 w 320"/>
              <a:gd name="T63" fmla="*/ 3089767 h 215"/>
              <a:gd name="T64" fmla="*/ 6844546 w 320"/>
              <a:gd name="T65" fmla="*/ 0 h 215"/>
              <a:gd name="T66" fmla="*/ 13689792 w 320"/>
              <a:gd name="T67" fmla="*/ 0 h 215"/>
              <a:gd name="T68" fmla="*/ 16134523 w 320"/>
              <a:gd name="T69" fmla="*/ 6178818 h 215"/>
              <a:gd name="T70" fmla="*/ 18089608 w 320"/>
              <a:gd name="T71" fmla="*/ 9268585 h 215"/>
              <a:gd name="T72" fmla="*/ 22490123 w 320"/>
              <a:gd name="T73" fmla="*/ 9268585 h 215"/>
              <a:gd name="T74" fmla="*/ 25423800 w 320"/>
              <a:gd name="T75" fmla="*/ 15448119 h 21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20"/>
              <a:gd name="T115" fmla="*/ 0 h 215"/>
              <a:gd name="T116" fmla="*/ 320 w 320"/>
              <a:gd name="T117" fmla="*/ 215 h 21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20" h="215">
                <a:moveTo>
                  <a:pt x="220" y="90"/>
                </a:moveTo>
                <a:lnTo>
                  <a:pt x="241" y="90"/>
                </a:lnTo>
                <a:lnTo>
                  <a:pt x="241" y="73"/>
                </a:lnTo>
                <a:lnTo>
                  <a:pt x="261" y="73"/>
                </a:lnTo>
                <a:lnTo>
                  <a:pt x="261" y="90"/>
                </a:lnTo>
                <a:lnTo>
                  <a:pt x="261" y="109"/>
                </a:lnTo>
                <a:lnTo>
                  <a:pt x="282" y="109"/>
                </a:lnTo>
                <a:lnTo>
                  <a:pt x="301" y="109"/>
                </a:lnTo>
                <a:lnTo>
                  <a:pt x="320" y="127"/>
                </a:lnTo>
                <a:lnTo>
                  <a:pt x="320" y="142"/>
                </a:lnTo>
                <a:lnTo>
                  <a:pt x="282" y="161"/>
                </a:lnTo>
                <a:lnTo>
                  <a:pt x="261" y="178"/>
                </a:lnTo>
                <a:lnTo>
                  <a:pt x="241" y="178"/>
                </a:lnTo>
                <a:lnTo>
                  <a:pt x="241" y="161"/>
                </a:lnTo>
                <a:lnTo>
                  <a:pt x="241" y="178"/>
                </a:lnTo>
                <a:lnTo>
                  <a:pt x="220" y="178"/>
                </a:lnTo>
                <a:lnTo>
                  <a:pt x="241" y="178"/>
                </a:lnTo>
                <a:lnTo>
                  <a:pt x="241" y="196"/>
                </a:lnTo>
                <a:lnTo>
                  <a:pt x="220" y="196"/>
                </a:lnTo>
                <a:lnTo>
                  <a:pt x="220" y="215"/>
                </a:lnTo>
                <a:lnTo>
                  <a:pt x="199" y="196"/>
                </a:lnTo>
                <a:lnTo>
                  <a:pt x="199" y="178"/>
                </a:lnTo>
                <a:lnTo>
                  <a:pt x="180" y="196"/>
                </a:lnTo>
                <a:lnTo>
                  <a:pt x="180" y="215"/>
                </a:lnTo>
                <a:lnTo>
                  <a:pt x="159" y="215"/>
                </a:lnTo>
                <a:lnTo>
                  <a:pt x="140" y="215"/>
                </a:lnTo>
                <a:lnTo>
                  <a:pt x="119" y="196"/>
                </a:lnTo>
                <a:lnTo>
                  <a:pt x="119" y="178"/>
                </a:lnTo>
                <a:lnTo>
                  <a:pt x="78" y="178"/>
                </a:lnTo>
                <a:lnTo>
                  <a:pt x="78" y="161"/>
                </a:lnTo>
                <a:lnTo>
                  <a:pt x="99" y="142"/>
                </a:lnTo>
                <a:lnTo>
                  <a:pt x="119" y="142"/>
                </a:lnTo>
                <a:lnTo>
                  <a:pt x="159" y="142"/>
                </a:lnTo>
                <a:lnTo>
                  <a:pt x="140" y="142"/>
                </a:lnTo>
                <a:lnTo>
                  <a:pt x="119" y="127"/>
                </a:lnTo>
                <a:lnTo>
                  <a:pt x="99" y="127"/>
                </a:lnTo>
                <a:lnTo>
                  <a:pt x="99" y="142"/>
                </a:lnTo>
                <a:lnTo>
                  <a:pt x="78" y="142"/>
                </a:lnTo>
                <a:lnTo>
                  <a:pt x="59" y="127"/>
                </a:lnTo>
                <a:lnTo>
                  <a:pt x="59" y="142"/>
                </a:lnTo>
                <a:lnTo>
                  <a:pt x="40" y="127"/>
                </a:lnTo>
                <a:lnTo>
                  <a:pt x="59" y="127"/>
                </a:lnTo>
                <a:lnTo>
                  <a:pt x="59" y="109"/>
                </a:lnTo>
                <a:lnTo>
                  <a:pt x="40" y="109"/>
                </a:lnTo>
                <a:lnTo>
                  <a:pt x="0" y="109"/>
                </a:lnTo>
                <a:lnTo>
                  <a:pt x="0" y="90"/>
                </a:lnTo>
                <a:lnTo>
                  <a:pt x="19" y="90"/>
                </a:lnTo>
                <a:lnTo>
                  <a:pt x="40" y="90"/>
                </a:lnTo>
                <a:lnTo>
                  <a:pt x="59" y="90"/>
                </a:lnTo>
                <a:lnTo>
                  <a:pt x="40" y="73"/>
                </a:lnTo>
                <a:lnTo>
                  <a:pt x="19" y="73"/>
                </a:lnTo>
                <a:lnTo>
                  <a:pt x="0" y="54"/>
                </a:lnTo>
                <a:lnTo>
                  <a:pt x="19" y="54"/>
                </a:lnTo>
                <a:lnTo>
                  <a:pt x="40" y="54"/>
                </a:lnTo>
                <a:lnTo>
                  <a:pt x="59" y="54"/>
                </a:lnTo>
                <a:lnTo>
                  <a:pt x="78" y="54"/>
                </a:lnTo>
                <a:lnTo>
                  <a:pt x="59" y="54"/>
                </a:lnTo>
                <a:lnTo>
                  <a:pt x="40" y="54"/>
                </a:lnTo>
                <a:lnTo>
                  <a:pt x="40" y="36"/>
                </a:lnTo>
                <a:lnTo>
                  <a:pt x="59" y="19"/>
                </a:lnTo>
                <a:lnTo>
                  <a:pt x="59" y="36"/>
                </a:lnTo>
                <a:lnTo>
                  <a:pt x="78" y="36"/>
                </a:lnTo>
                <a:lnTo>
                  <a:pt x="99" y="36"/>
                </a:lnTo>
                <a:lnTo>
                  <a:pt x="78" y="19"/>
                </a:lnTo>
                <a:lnTo>
                  <a:pt x="59" y="19"/>
                </a:lnTo>
                <a:lnTo>
                  <a:pt x="59" y="0"/>
                </a:lnTo>
                <a:lnTo>
                  <a:pt x="78" y="0"/>
                </a:lnTo>
                <a:lnTo>
                  <a:pt x="119" y="0"/>
                </a:lnTo>
                <a:lnTo>
                  <a:pt x="119" y="19"/>
                </a:lnTo>
                <a:lnTo>
                  <a:pt x="140" y="36"/>
                </a:lnTo>
                <a:lnTo>
                  <a:pt x="140" y="54"/>
                </a:lnTo>
                <a:lnTo>
                  <a:pt x="159" y="54"/>
                </a:lnTo>
                <a:lnTo>
                  <a:pt x="180" y="54"/>
                </a:lnTo>
                <a:lnTo>
                  <a:pt x="199" y="54"/>
                </a:lnTo>
                <a:lnTo>
                  <a:pt x="220" y="73"/>
                </a:lnTo>
                <a:lnTo>
                  <a:pt x="220" y="9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4" name="Freeform 160"/>
          <p:cNvSpPr>
            <a:spLocks/>
          </p:cNvSpPr>
          <p:nvPr/>
        </p:nvSpPr>
        <p:spPr bwMode="gray">
          <a:xfrm>
            <a:off x="1597025" y="2360613"/>
            <a:ext cx="406400" cy="179387"/>
          </a:xfrm>
          <a:custGeom>
            <a:avLst/>
            <a:gdLst>
              <a:gd name="T0" fmla="*/ 60259817 w 581"/>
              <a:gd name="T1" fmla="*/ 36580597 h 250"/>
              <a:gd name="T2" fmla="*/ 62709409 w 581"/>
              <a:gd name="T3" fmla="*/ 39671794 h 250"/>
              <a:gd name="T4" fmla="*/ 60259817 w 581"/>
              <a:gd name="T5" fmla="*/ 42762991 h 250"/>
              <a:gd name="T6" fmla="*/ 50461450 w 581"/>
              <a:gd name="T7" fmla="*/ 39671794 h 250"/>
              <a:gd name="T8" fmla="*/ 43603013 w 581"/>
              <a:gd name="T9" fmla="*/ 39671794 h 250"/>
              <a:gd name="T10" fmla="*/ 36743876 w 581"/>
              <a:gd name="T11" fmla="*/ 39671794 h 250"/>
              <a:gd name="T12" fmla="*/ 32334331 w 581"/>
              <a:gd name="T13" fmla="*/ 42762991 h 250"/>
              <a:gd name="T14" fmla="*/ 23026302 w 581"/>
              <a:gd name="T15" fmla="*/ 42762991 h 250"/>
              <a:gd name="T16" fmla="*/ 20576710 w 581"/>
              <a:gd name="T17" fmla="*/ 39671794 h 250"/>
              <a:gd name="T18" fmla="*/ 16167166 w 581"/>
              <a:gd name="T19" fmla="*/ 39671794 h 250"/>
              <a:gd name="T20" fmla="*/ 8818390 w 581"/>
              <a:gd name="T21" fmla="*/ 39671794 h 250"/>
              <a:gd name="T22" fmla="*/ 4409545 w 581"/>
              <a:gd name="T23" fmla="*/ 33489400 h 250"/>
              <a:gd name="T24" fmla="*/ 13717574 w 581"/>
              <a:gd name="T25" fmla="*/ 30397486 h 250"/>
              <a:gd name="T26" fmla="*/ 20576710 w 581"/>
              <a:gd name="T27" fmla="*/ 30397486 h 250"/>
              <a:gd name="T28" fmla="*/ 16167166 w 581"/>
              <a:gd name="T29" fmla="*/ 27306289 h 250"/>
              <a:gd name="T30" fmla="*/ 8818390 w 581"/>
              <a:gd name="T31" fmla="*/ 27306289 h 250"/>
              <a:gd name="T32" fmla="*/ 1959953 w 581"/>
              <a:gd name="T33" fmla="*/ 24215092 h 250"/>
              <a:gd name="T34" fmla="*/ 6859137 w 581"/>
              <a:gd name="T35" fmla="*/ 21123896 h 250"/>
              <a:gd name="T36" fmla="*/ 1959953 w 581"/>
              <a:gd name="T37" fmla="*/ 21123896 h 250"/>
              <a:gd name="T38" fmla="*/ 0 w 581"/>
              <a:gd name="T39" fmla="*/ 18032699 h 250"/>
              <a:gd name="T40" fmla="*/ 8818390 w 581"/>
              <a:gd name="T41" fmla="*/ 6182394 h 250"/>
              <a:gd name="T42" fmla="*/ 16167166 w 581"/>
              <a:gd name="T43" fmla="*/ 6182394 h 250"/>
              <a:gd name="T44" fmla="*/ 18127119 w 581"/>
              <a:gd name="T45" fmla="*/ 11850305 h 250"/>
              <a:gd name="T46" fmla="*/ 20576710 w 581"/>
              <a:gd name="T47" fmla="*/ 6182394 h 250"/>
              <a:gd name="T48" fmla="*/ 27435148 w 581"/>
              <a:gd name="T49" fmla="*/ 8758391 h 250"/>
              <a:gd name="T50" fmla="*/ 29884739 w 581"/>
              <a:gd name="T51" fmla="*/ 11850305 h 250"/>
              <a:gd name="T52" fmla="*/ 32334331 w 581"/>
              <a:gd name="T53" fmla="*/ 8758391 h 250"/>
              <a:gd name="T54" fmla="*/ 36743876 w 581"/>
              <a:gd name="T55" fmla="*/ 8758391 h 250"/>
              <a:gd name="T56" fmla="*/ 36743876 w 581"/>
              <a:gd name="T57" fmla="*/ 14941502 h 250"/>
              <a:gd name="T58" fmla="*/ 39193468 w 581"/>
              <a:gd name="T59" fmla="*/ 18032699 h 250"/>
              <a:gd name="T60" fmla="*/ 39193468 w 581"/>
              <a:gd name="T61" fmla="*/ 11850305 h 250"/>
              <a:gd name="T62" fmla="*/ 36743876 w 581"/>
              <a:gd name="T63" fmla="*/ 6182394 h 250"/>
              <a:gd name="T64" fmla="*/ 41153421 w 581"/>
              <a:gd name="T65" fmla="*/ 2575997 h 250"/>
              <a:gd name="T66" fmla="*/ 43603013 w 581"/>
              <a:gd name="T67" fmla="*/ 0 h 250"/>
              <a:gd name="T68" fmla="*/ 48502196 w 581"/>
              <a:gd name="T69" fmla="*/ 0 h 250"/>
              <a:gd name="T70" fmla="*/ 50461450 w 581"/>
              <a:gd name="T71" fmla="*/ 2575997 h 250"/>
              <a:gd name="T72" fmla="*/ 50461450 w 581"/>
              <a:gd name="T73" fmla="*/ 8758391 h 250"/>
              <a:gd name="T74" fmla="*/ 50461450 w 581"/>
              <a:gd name="T75" fmla="*/ 18032699 h 250"/>
              <a:gd name="T76" fmla="*/ 55850971 w 581"/>
              <a:gd name="T77" fmla="*/ 27306289 h 250"/>
              <a:gd name="T78" fmla="*/ 67118954 w 581"/>
              <a:gd name="T79" fmla="*/ 33489400 h 250"/>
              <a:gd name="T80" fmla="*/ 62709409 w 581"/>
              <a:gd name="T81" fmla="*/ 33489400 h 25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81"/>
              <a:gd name="T124" fmla="*/ 0 h 250"/>
              <a:gd name="T125" fmla="*/ 581 w 581"/>
              <a:gd name="T126" fmla="*/ 250 h 25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81" h="250">
                <a:moveTo>
                  <a:pt x="522" y="196"/>
                </a:moveTo>
                <a:lnTo>
                  <a:pt x="522" y="213"/>
                </a:lnTo>
                <a:lnTo>
                  <a:pt x="522" y="233"/>
                </a:lnTo>
                <a:lnTo>
                  <a:pt x="541" y="233"/>
                </a:lnTo>
                <a:lnTo>
                  <a:pt x="522" y="233"/>
                </a:lnTo>
                <a:lnTo>
                  <a:pt x="522" y="250"/>
                </a:lnTo>
                <a:lnTo>
                  <a:pt x="482" y="250"/>
                </a:lnTo>
                <a:lnTo>
                  <a:pt x="439" y="233"/>
                </a:lnTo>
                <a:lnTo>
                  <a:pt x="418" y="233"/>
                </a:lnTo>
                <a:lnTo>
                  <a:pt x="380" y="233"/>
                </a:lnTo>
                <a:lnTo>
                  <a:pt x="359" y="233"/>
                </a:lnTo>
                <a:lnTo>
                  <a:pt x="318" y="233"/>
                </a:lnTo>
                <a:lnTo>
                  <a:pt x="318" y="250"/>
                </a:lnTo>
                <a:lnTo>
                  <a:pt x="280" y="250"/>
                </a:lnTo>
                <a:lnTo>
                  <a:pt x="240" y="250"/>
                </a:lnTo>
                <a:lnTo>
                  <a:pt x="199" y="250"/>
                </a:lnTo>
                <a:lnTo>
                  <a:pt x="178" y="250"/>
                </a:lnTo>
                <a:lnTo>
                  <a:pt x="178" y="233"/>
                </a:lnTo>
                <a:lnTo>
                  <a:pt x="159" y="233"/>
                </a:lnTo>
                <a:lnTo>
                  <a:pt x="140" y="233"/>
                </a:lnTo>
                <a:lnTo>
                  <a:pt x="119" y="233"/>
                </a:lnTo>
                <a:lnTo>
                  <a:pt x="78" y="233"/>
                </a:lnTo>
                <a:lnTo>
                  <a:pt x="59" y="213"/>
                </a:lnTo>
                <a:lnTo>
                  <a:pt x="40" y="196"/>
                </a:lnTo>
                <a:lnTo>
                  <a:pt x="78" y="179"/>
                </a:lnTo>
                <a:lnTo>
                  <a:pt x="119" y="179"/>
                </a:lnTo>
                <a:lnTo>
                  <a:pt x="159" y="179"/>
                </a:lnTo>
                <a:lnTo>
                  <a:pt x="178" y="179"/>
                </a:lnTo>
                <a:lnTo>
                  <a:pt x="178" y="160"/>
                </a:lnTo>
                <a:lnTo>
                  <a:pt x="140" y="160"/>
                </a:lnTo>
                <a:lnTo>
                  <a:pt x="119" y="160"/>
                </a:lnTo>
                <a:lnTo>
                  <a:pt x="78" y="160"/>
                </a:lnTo>
                <a:lnTo>
                  <a:pt x="40" y="160"/>
                </a:lnTo>
                <a:lnTo>
                  <a:pt x="19" y="142"/>
                </a:lnTo>
                <a:lnTo>
                  <a:pt x="40" y="125"/>
                </a:lnTo>
                <a:lnTo>
                  <a:pt x="59" y="125"/>
                </a:lnTo>
                <a:lnTo>
                  <a:pt x="40" y="125"/>
                </a:lnTo>
                <a:lnTo>
                  <a:pt x="19" y="125"/>
                </a:lnTo>
                <a:lnTo>
                  <a:pt x="0" y="125"/>
                </a:lnTo>
                <a:lnTo>
                  <a:pt x="0" y="106"/>
                </a:lnTo>
                <a:lnTo>
                  <a:pt x="19" y="69"/>
                </a:lnTo>
                <a:lnTo>
                  <a:pt x="78" y="35"/>
                </a:lnTo>
                <a:lnTo>
                  <a:pt x="140" y="16"/>
                </a:lnTo>
                <a:lnTo>
                  <a:pt x="140" y="35"/>
                </a:lnTo>
                <a:lnTo>
                  <a:pt x="159" y="52"/>
                </a:lnTo>
                <a:lnTo>
                  <a:pt x="159" y="69"/>
                </a:lnTo>
                <a:lnTo>
                  <a:pt x="159" y="52"/>
                </a:lnTo>
                <a:lnTo>
                  <a:pt x="178" y="35"/>
                </a:lnTo>
                <a:lnTo>
                  <a:pt x="219" y="52"/>
                </a:lnTo>
                <a:lnTo>
                  <a:pt x="240" y="52"/>
                </a:lnTo>
                <a:lnTo>
                  <a:pt x="240" y="69"/>
                </a:lnTo>
                <a:lnTo>
                  <a:pt x="259" y="69"/>
                </a:lnTo>
                <a:lnTo>
                  <a:pt x="259" y="52"/>
                </a:lnTo>
                <a:lnTo>
                  <a:pt x="280" y="52"/>
                </a:lnTo>
                <a:lnTo>
                  <a:pt x="299" y="52"/>
                </a:lnTo>
                <a:lnTo>
                  <a:pt x="318" y="52"/>
                </a:lnTo>
                <a:lnTo>
                  <a:pt x="318" y="69"/>
                </a:lnTo>
                <a:lnTo>
                  <a:pt x="318" y="89"/>
                </a:lnTo>
                <a:lnTo>
                  <a:pt x="318" y="106"/>
                </a:lnTo>
                <a:lnTo>
                  <a:pt x="340" y="106"/>
                </a:lnTo>
                <a:lnTo>
                  <a:pt x="359" y="106"/>
                </a:lnTo>
                <a:lnTo>
                  <a:pt x="340" y="69"/>
                </a:lnTo>
                <a:lnTo>
                  <a:pt x="340" y="52"/>
                </a:lnTo>
                <a:lnTo>
                  <a:pt x="318" y="35"/>
                </a:lnTo>
                <a:lnTo>
                  <a:pt x="340" y="16"/>
                </a:lnTo>
                <a:lnTo>
                  <a:pt x="359" y="16"/>
                </a:lnTo>
                <a:lnTo>
                  <a:pt x="380" y="16"/>
                </a:lnTo>
                <a:lnTo>
                  <a:pt x="380" y="0"/>
                </a:lnTo>
                <a:lnTo>
                  <a:pt x="399" y="0"/>
                </a:lnTo>
                <a:lnTo>
                  <a:pt x="418" y="0"/>
                </a:lnTo>
                <a:lnTo>
                  <a:pt x="439" y="0"/>
                </a:lnTo>
                <a:lnTo>
                  <a:pt x="439" y="16"/>
                </a:lnTo>
                <a:lnTo>
                  <a:pt x="439" y="35"/>
                </a:lnTo>
                <a:lnTo>
                  <a:pt x="439" y="52"/>
                </a:lnTo>
                <a:lnTo>
                  <a:pt x="439" y="69"/>
                </a:lnTo>
                <a:lnTo>
                  <a:pt x="439" y="106"/>
                </a:lnTo>
                <a:lnTo>
                  <a:pt x="460" y="125"/>
                </a:lnTo>
                <a:lnTo>
                  <a:pt x="482" y="160"/>
                </a:lnTo>
                <a:lnTo>
                  <a:pt x="522" y="179"/>
                </a:lnTo>
                <a:lnTo>
                  <a:pt x="581" y="196"/>
                </a:lnTo>
                <a:lnTo>
                  <a:pt x="560" y="196"/>
                </a:lnTo>
                <a:lnTo>
                  <a:pt x="541" y="196"/>
                </a:lnTo>
                <a:lnTo>
                  <a:pt x="522" y="196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5" name="Freeform 161"/>
          <p:cNvSpPr>
            <a:spLocks/>
          </p:cNvSpPr>
          <p:nvPr/>
        </p:nvSpPr>
        <p:spPr bwMode="gray">
          <a:xfrm>
            <a:off x="1443038" y="2320925"/>
            <a:ext cx="236537" cy="141288"/>
          </a:xfrm>
          <a:custGeom>
            <a:avLst/>
            <a:gdLst>
              <a:gd name="T0" fmla="*/ 6700498 w 342"/>
              <a:gd name="T1" fmla="*/ 31403613 h 195"/>
              <a:gd name="T2" fmla="*/ 6700498 w 342"/>
              <a:gd name="T3" fmla="*/ 27740269 h 195"/>
              <a:gd name="T4" fmla="*/ 4307463 w 342"/>
              <a:gd name="T5" fmla="*/ 27740269 h 195"/>
              <a:gd name="T6" fmla="*/ 2393035 w 342"/>
              <a:gd name="T7" fmla="*/ 27740269 h 195"/>
              <a:gd name="T8" fmla="*/ 0 w 342"/>
              <a:gd name="T9" fmla="*/ 25123180 h 195"/>
              <a:gd name="T10" fmla="*/ 2393035 w 342"/>
              <a:gd name="T11" fmla="*/ 21459111 h 195"/>
              <a:gd name="T12" fmla="*/ 6700498 w 342"/>
              <a:gd name="T13" fmla="*/ 12038462 h 195"/>
              <a:gd name="T14" fmla="*/ 6700498 w 342"/>
              <a:gd name="T15" fmla="*/ 9421374 h 195"/>
              <a:gd name="T16" fmla="*/ 6700498 w 342"/>
              <a:gd name="T17" fmla="*/ 6280433 h 195"/>
              <a:gd name="T18" fmla="*/ 6700498 w 342"/>
              <a:gd name="T19" fmla="*/ 3140216 h 195"/>
              <a:gd name="T20" fmla="*/ 4307463 w 342"/>
              <a:gd name="T21" fmla="*/ 3140216 h 195"/>
              <a:gd name="T22" fmla="*/ 6700498 w 342"/>
              <a:gd name="T23" fmla="*/ 0 h 195"/>
              <a:gd name="T24" fmla="*/ 9093534 w 342"/>
              <a:gd name="T25" fmla="*/ 0 h 195"/>
              <a:gd name="T26" fmla="*/ 13400305 w 342"/>
              <a:gd name="T27" fmla="*/ 3140216 h 195"/>
              <a:gd name="T28" fmla="*/ 15314733 w 342"/>
              <a:gd name="T29" fmla="*/ 0 h 195"/>
              <a:gd name="T30" fmla="*/ 17229161 w 342"/>
              <a:gd name="T31" fmla="*/ 0 h 195"/>
              <a:gd name="T32" fmla="*/ 19622197 w 342"/>
              <a:gd name="T33" fmla="*/ 3140216 h 195"/>
              <a:gd name="T34" fmla="*/ 22493839 w 342"/>
              <a:gd name="T35" fmla="*/ 3140216 h 195"/>
              <a:gd name="T36" fmla="*/ 24408267 w 342"/>
              <a:gd name="T37" fmla="*/ 6280433 h 195"/>
              <a:gd name="T38" fmla="*/ 26801302 w 342"/>
              <a:gd name="T39" fmla="*/ 3140216 h 195"/>
              <a:gd name="T40" fmla="*/ 28715038 w 342"/>
              <a:gd name="T41" fmla="*/ 3140216 h 195"/>
              <a:gd name="T42" fmla="*/ 31108074 w 342"/>
              <a:gd name="T43" fmla="*/ 6280433 h 195"/>
              <a:gd name="T44" fmla="*/ 35415537 w 342"/>
              <a:gd name="T45" fmla="*/ 9421374 h 195"/>
              <a:gd name="T46" fmla="*/ 37808572 w 342"/>
              <a:gd name="T47" fmla="*/ 9421374 h 195"/>
              <a:gd name="T48" fmla="*/ 35415537 w 342"/>
              <a:gd name="T49" fmla="*/ 12038462 h 195"/>
              <a:gd name="T50" fmla="*/ 31108074 w 342"/>
              <a:gd name="T51" fmla="*/ 15701806 h 195"/>
              <a:gd name="T52" fmla="*/ 28715038 w 342"/>
              <a:gd name="T53" fmla="*/ 15701806 h 195"/>
              <a:gd name="T54" fmla="*/ 24408267 w 342"/>
              <a:gd name="T55" fmla="*/ 18318895 h 195"/>
              <a:gd name="T56" fmla="*/ 22493839 w 342"/>
              <a:gd name="T57" fmla="*/ 21459111 h 195"/>
              <a:gd name="T58" fmla="*/ 19622197 w 342"/>
              <a:gd name="T59" fmla="*/ 27740269 h 195"/>
              <a:gd name="T60" fmla="*/ 17229161 w 342"/>
              <a:gd name="T61" fmla="*/ 31403613 h 195"/>
              <a:gd name="T62" fmla="*/ 13400305 w 342"/>
              <a:gd name="T63" fmla="*/ 31403613 h 195"/>
              <a:gd name="T64" fmla="*/ 9093534 w 342"/>
              <a:gd name="T65" fmla="*/ 34020701 h 195"/>
              <a:gd name="T66" fmla="*/ 9093534 w 342"/>
              <a:gd name="T67" fmla="*/ 31403613 h 195"/>
              <a:gd name="T68" fmla="*/ 6700498 w 342"/>
              <a:gd name="T69" fmla="*/ 31403613 h 19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42"/>
              <a:gd name="T106" fmla="*/ 0 h 195"/>
              <a:gd name="T107" fmla="*/ 342 w 342"/>
              <a:gd name="T108" fmla="*/ 195 h 19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42" h="195">
                <a:moveTo>
                  <a:pt x="60" y="178"/>
                </a:moveTo>
                <a:lnTo>
                  <a:pt x="60" y="159"/>
                </a:lnTo>
                <a:lnTo>
                  <a:pt x="40" y="159"/>
                </a:lnTo>
                <a:lnTo>
                  <a:pt x="21" y="159"/>
                </a:lnTo>
                <a:lnTo>
                  <a:pt x="0" y="142"/>
                </a:lnTo>
                <a:lnTo>
                  <a:pt x="21" y="122"/>
                </a:lnTo>
                <a:lnTo>
                  <a:pt x="60" y="69"/>
                </a:lnTo>
                <a:lnTo>
                  <a:pt x="60" y="53"/>
                </a:lnTo>
                <a:lnTo>
                  <a:pt x="60" y="36"/>
                </a:lnTo>
                <a:lnTo>
                  <a:pt x="60" y="17"/>
                </a:lnTo>
                <a:lnTo>
                  <a:pt x="40" y="17"/>
                </a:lnTo>
                <a:lnTo>
                  <a:pt x="60" y="0"/>
                </a:lnTo>
                <a:lnTo>
                  <a:pt x="81" y="0"/>
                </a:lnTo>
                <a:lnTo>
                  <a:pt x="121" y="17"/>
                </a:lnTo>
                <a:lnTo>
                  <a:pt x="140" y="0"/>
                </a:lnTo>
                <a:lnTo>
                  <a:pt x="159" y="0"/>
                </a:lnTo>
                <a:lnTo>
                  <a:pt x="180" y="17"/>
                </a:lnTo>
                <a:lnTo>
                  <a:pt x="202" y="17"/>
                </a:lnTo>
                <a:lnTo>
                  <a:pt x="223" y="36"/>
                </a:lnTo>
                <a:lnTo>
                  <a:pt x="242" y="17"/>
                </a:lnTo>
                <a:lnTo>
                  <a:pt x="263" y="17"/>
                </a:lnTo>
                <a:lnTo>
                  <a:pt x="282" y="36"/>
                </a:lnTo>
                <a:lnTo>
                  <a:pt x="323" y="53"/>
                </a:lnTo>
                <a:lnTo>
                  <a:pt x="342" y="53"/>
                </a:lnTo>
                <a:lnTo>
                  <a:pt x="323" y="69"/>
                </a:lnTo>
                <a:lnTo>
                  <a:pt x="282" y="88"/>
                </a:lnTo>
                <a:lnTo>
                  <a:pt x="263" y="88"/>
                </a:lnTo>
                <a:lnTo>
                  <a:pt x="223" y="105"/>
                </a:lnTo>
                <a:lnTo>
                  <a:pt x="202" y="122"/>
                </a:lnTo>
                <a:lnTo>
                  <a:pt x="180" y="159"/>
                </a:lnTo>
                <a:lnTo>
                  <a:pt x="159" y="178"/>
                </a:lnTo>
                <a:lnTo>
                  <a:pt x="121" y="178"/>
                </a:lnTo>
                <a:lnTo>
                  <a:pt x="81" y="195"/>
                </a:lnTo>
                <a:lnTo>
                  <a:pt x="81" y="178"/>
                </a:lnTo>
                <a:lnTo>
                  <a:pt x="60" y="178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6" name="Freeform 162"/>
          <p:cNvSpPr>
            <a:spLocks/>
          </p:cNvSpPr>
          <p:nvPr/>
        </p:nvSpPr>
        <p:spPr bwMode="gray">
          <a:xfrm>
            <a:off x="1582738" y="2266950"/>
            <a:ext cx="42862" cy="15875"/>
          </a:xfrm>
          <a:custGeom>
            <a:avLst/>
            <a:gdLst>
              <a:gd name="T0" fmla="*/ 2493023 w 61"/>
              <a:gd name="T1" fmla="*/ 5262145 h 19"/>
              <a:gd name="T2" fmla="*/ 0 w 61"/>
              <a:gd name="T3" fmla="*/ 5262145 h 19"/>
              <a:gd name="T4" fmla="*/ 2493023 w 61"/>
              <a:gd name="T5" fmla="*/ 5262145 h 19"/>
              <a:gd name="T6" fmla="*/ 4986748 w 61"/>
              <a:gd name="T7" fmla="*/ 0 h 19"/>
              <a:gd name="T8" fmla="*/ 7479770 w 61"/>
              <a:gd name="T9" fmla="*/ 0 h 19"/>
              <a:gd name="T10" fmla="*/ 7479770 w 61"/>
              <a:gd name="T11" fmla="*/ 5262145 h 19"/>
              <a:gd name="T12" fmla="*/ 4986748 w 61"/>
              <a:gd name="T13" fmla="*/ 5262145 h 19"/>
              <a:gd name="T14" fmla="*/ 2493023 w 61"/>
              <a:gd name="T15" fmla="*/ 526214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1"/>
              <a:gd name="T25" fmla="*/ 0 h 19"/>
              <a:gd name="T26" fmla="*/ 61 w 61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1" h="19">
                <a:moveTo>
                  <a:pt x="21" y="19"/>
                </a:moveTo>
                <a:lnTo>
                  <a:pt x="0" y="19"/>
                </a:lnTo>
                <a:lnTo>
                  <a:pt x="21" y="19"/>
                </a:lnTo>
                <a:lnTo>
                  <a:pt x="40" y="0"/>
                </a:lnTo>
                <a:lnTo>
                  <a:pt x="61" y="0"/>
                </a:lnTo>
                <a:lnTo>
                  <a:pt x="61" y="19"/>
                </a:lnTo>
                <a:lnTo>
                  <a:pt x="40" y="19"/>
                </a:lnTo>
                <a:lnTo>
                  <a:pt x="21" y="19"/>
                </a:lnTo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7" name="Freeform 163"/>
          <p:cNvSpPr>
            <a:spLocks/>
          </p:cNvSpPr>
          <p:nvPr/>
        </p:nvSpPr>
        <p:spPr bwMode="gray">
          <a:xfrm>
            <a:off x="1511300" y="2203450"/>
            <a:ext cx="157163" cy="79375"/>
          </a:xfrm>
          <a:custGeom>
            <a:avLst/>
            <a:gdLst>
              <a:gd name="T0" fmla="*/ 26346298 w 223"/>
              <a:gd name="T1" fmla="*/ 0 h 110"/>
              <a:gd name="T2" fmla="*/ 26346298 w 223"/>
              <a:gd name="T3" fmla="*/ 3663517 h 110"/>
              <a:gd name="T4" fmla="*/ 23860585 w 223"/>
              <a:gd name="T5" fmla="*/ 3663517 h 110"/>
              <a:gd name="T6" fmla="*/ 23860585 w 223"/>
              <a:gd name="T7" fmla="*/ 6803881 h 110"/>
              <a:gd name="T8" fmla="*/ 26346298 w 223"/>
              <a:gd name="T9" fmla="*/ 6803881 h 110"/>
              <a:gd name="T10" fmla="*/ 23860585 w 223"/>
              <a:gd name="T11" fmla="*/ 6803881 h 110"/>
              <a:gd name="T12" fmla="*/ 19386726 w 223"/>
              <a:gd name="T13" fmla="*/ 12560733 h 110"/>
              <a:gd name="T14" fmla="*/ 16901013 w 223"/>
              <a:gd name="T15" fmla="*/ 9943523 h 110"/>
              <a:gd name="T16" fmla="*/ 16901013 w 223"/>
              <a:gd name="T17" fmla="*/ 6803881 h 110"/>
              <a:gd name="T18" fmla="*/ 14416005 w 223"/>
              <a:gd name="T19" fmla="*/ 9943523 h 110"/>
              <a:gd name="T20" fmla="*/ 14416005 w 223"/>
              <a:gd name="T21" fmla="*/ 12560733 h 110"/>
              <a:gd name="T22" fmla="*/ 11930293 w 223"/>
              <a:gd name="T23" fmla="*/ 12560733 h 110"/>
              <a:gd name="T24" fmla="*/ 11930293 w 223"/>
              <a:gd name="T25" fmla="*/ 16224250 h 110"/>
              <a:gd name="T26" fmla="*/ 11930293 w 223"/>
              <a:gd name="T27" fmla="*/ 19363892 h 110"/>
              <a:gd name="T28" fmla="*/ 9444580 w 223"/>
              <a:gd name="T29" fmla="*/ 19363892 h 110"/>
              <a:gd name="T30" fmla="*/ 6959572 w 223"/>
              <a:gd name="T31" fmla="*/ 19363892 h 110"/>
              <a:gd name="T32" fmla="*/ 6959572 w 223"/>
              <a:gd name="T33" fmla="*/ 16224250 h 110"/>
              <a:gd name="T34" fmla="*/ 4970720 w 223"/>
              <a:gd name="T35" fmla="*/ 16224250 h 110"/>
              <a:gd name="T36" fmla="*/ 2485713 w 223"/>
              <a:gd name="T37" fmla="*/ 16224250 h 110"/>
              <a:gd name="T38" fmla="*/ 0 w 223"/>
              <a:gd name="T39" fmla="*/ 16224250 h 110"/>
              <a:gd name="T40" fmla="*/ 0 w 223"/>
              <a:gd name="T41" fmla="*/ 12560733 h 110"/>
              <a:gd name="T42" fmla="*/ 2485713 w 223"/>
              <a:gd name="T43" fmla="*/ 9943523 h 110"/>
              <a:gd name="T44" fmla="*/ 4970720 w 223"/>
              <a:gd name="T45" fmla="*/ 9943523 h 110"/>
              <a:gd name="T46" fmla="*/ 6959572 w 223"/>
              <a:gd name="T47" fmla="*/ 6803881 h 110"/>
              <a:gd name="T48" fmla="*/ 9444580 w 223"/>
              <a:gd name="T49" fmla="*/ 6803881 h 110"/>
              <a:gd name="T50" fmla="*/ 11930293 w 223"/>
              <a:gd name="T51" fmla="*/ 6803881 h 110"/>
              <a:gd name="T52" fmla="*/ 11930293 w 223"/>
              <a:gd name="T53" fmla="*/ 3663517 h 110"/>
              <a:gd name="T54" fmla="*/ 14416005 w 223"/>
              <a:gd name="T55" fmla="*/ 0 h 110"/>
              <a:gd name="T56" fmla="*/ 16901013 w 223"/>
              <a:gd name="T57" fmla="*/ 0 h 110"/>
              <a:gd name="T58" fmla="*/ 19386726 w 223"/>
              <a:gd name="T59" fmla="*/ 0 h 110"/>
              <a:gd name="T60" fmla="*/ 23860585 w 223"/>
              <a:gd name="T61" fmla="*/ 0 h 110"/>
              <a:gd name="T62" fmla="*/ 26346298 w 223"/>
              <a:gd name="T63" fmla="*/ 0 h 11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23"/>
              <a:gd name="T97" fmla="*/ 0 h 110"/>
              <a:gd name="T98" fmla="*/ 223 w 223"/>
              <a:gd name="T99" fmla="*/ 110 h 11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23" h="110">
                <a:moveTo>
                  <a:pt x="223" y="0"/>
                </a:moveTo>
                <a:lnTo>
                  <a:pt x="223" y="20"/>
                </a:lnTo>
                <a:lnTo>
                  <a:pt x="201" y="20"/>
                </a:lnTo>
                <a:lnTo>
                  <a:pt x="201" y="37"/>
                </a:lnTo>
                <a:lnTo>
                  <a:pt x="223" y="37"/>
                </a:lnTo>
                <a:lnTo>
                  <a:pt x="201" y="37"/>
                </a:lnTo>
                <a:lnTo>
                  <a:pt x="163" y="73"/>
                </a:lnTo>
                <a:lnTo>
                  <a:pt x="142" y="56"/>
                </a:lnTo>
                <a:lnTo>
                  <a:pt x="142" y="37"/>
                </a:lnTo>
                <a:lnTo>
                  <a:pt x="123" y="56"/>
                </a:lnTo>
                <a:lnTo>
                  <a:pt x="123" y="73"/>
                </a:lnTo>
                <a:lnTo>
                  <a:pt x="102" y="73"/>
                </a:lnTo>
                <a:lnTo>
                  <a:pt x="102" y="91"/>
                </a:lnTo>
                <a:lnTo>
                  <a:pt x="102" y="110"/>
                </a:lnTo>
                <a:lnTo>
                  <a:pt x="80" y="110"/>
                </a:lnTo>
                <a:lnTo>
                  <a:pt x="59" y="110"/>
                </a:lnTo>
                <a:lnTo>
                  <a:pt x="59" y="91"/>
                </a:lnTo>
                <a:lnTo>
                  <a:pt x="40" y="91"/>
                </a:lnTo>
                <a:lnTo>
                  <a:pt x="21" y="91"/>
                </a:lnTo>
                <a:lnTo>
                  <a:pt x="0" y="91"/>
                </a:lnTo>
                <a:lnTo>
                  <a:pt x="0" y="73"/>
                </a:lnTo>
                <a:lnTo>
                  <a:pt x="21" y="56"/>
                </a:lnTo>
                <a:lnTo>
                  <a:pt x="40" y="56"/>
                </a:lnTo>
                <a:lnTo>
                  <a:pt x="59" y="37"/>
                </a:lnTo>
                <a:lnTo>
                  <a:pt x="80" y="37"/>
                </a:lnTo>
                <a:lnTo>
                  <a:pt x="102" y="37"/>
                </a:lnTo>
                <a:lnTo>
                  <a:pt x="102" y="20"/>
                </a:lnTo>
                <a:lnTo>
                  <a:pt x="123" y="0"/>
                </a:lnTo>
                <a:lnTo>
                  <a:pt x="142" y="0"/>
                </a:lnTo>
                <a:lnTo>
                  <a:pt x="163" y="0"/>
                </a:lnTo>
                <a:lnTo>
                  <a:pt x="201" y="0"/>
                </a:lnTo>
                <a:lnTo>
                  <a:pt x="223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8" name="Freeform 164"/>
          <p:cNvSpPr>
            <a:spLocks/>
          </p:cNvSpPr>
          <p:nvPr/>
        </p:nvSpPr>
        <p:spPr bwMode="gray">
          <a:xfrm>
            <a:off x="1679575" y="2178050"/>
            <a:ext cx="30163" cy="14288"/>
          </a:xfrm>
          <a:custGeom>
            <a:avLst/>
            <a:gdLst>
              <a:gd name="T0" fmla="*/ 6283707 w 40"/>
              <a:gd name="T1" fmla="*/ 4745297 h 17"/>
              <a:gd name="T2" fmla="*/ 3427271 w 40"/>
              <a:gd name="T3" fmla="*/ 4745297 h 17"/>
              <a:gd name="T4" fmla="*/ 0 w 40"/>
              <a:gd name="T5" fmla="*/ 4745297 h 17"/>
              <a:gd name="T6" fmla="*/ 0 w 40"/>
              <a:gd name="T7" fmla="*/ 0 h 17"/>
              <a:gd name="T8" fmla="*/ 3427271 w 40"/>
              <a:gd name="T9" fmla="*/ 4745297 h 17"/>
              <a:gd name="T10" fmla="*/ 6283707 w 40"/>
              <a:gd name="T11" fmla="*/ 474529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17"/>
              <a:gd name="T20" fmla="*/ 40 w 40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17">
                <a:moveTo>
                  <a:pt x="40" y="17"/>
                </a:moveTo>
                <a:lnTo>
                  <a:pt x="21" y="17"/>
                </a:lnTo>
                <a:lnTo>
                  <a:pt x="0" y="17"/>
                </a:lnTo>
                <a:lnTo>
                  <a:pt x="0" y="0"/>
                </a:lnTo>
                <a:lnTo>
                  <a:pt x="21" y="17"/>
                </a:lnTo>
                <a:lnTo>
                  <a:pt x="40" y="17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59" name="Freeform 165"/>
          <p:cNvSpPr>
            <a:spLocks/>
          </p:cNvSpPr>
          <p:nvPr/>
        </p:nvSpPr>
        <p:spPr bwMode="gray">
          <a:xfrm>
            <a:off x="1303338" y="2925763"/>
            <a:ext cx="26987" cy="38100"/>
          </a:xfrm>
          <a:custGeom>
            <a:avLst/>
            <a:gdLst>
              <a:gd name="T0" fmla="*/ 1760737 w 41"/>
              <a:gd name="T1" fmla="*/ 3029656 h 54"/>
              <a:gd name="T2" fmla="*/ 0 w 41"/>
              <a:gd name="T3" fmla="*/ 3029656 h 54"/>
              <a:gd name="T4" fmla="*/ 0 w 41"/>
              <a:gd name="T5" fmla="*/ 0 h 54"/>
              <a:gd name="T6" fmla="*/ 1760737 w 41"/>
              <a:gd name="T7" fmla="*/ 0 h 54"/>
              <a:gd name="T8" fmla="*/ 1760737 w 41"/>
              <a:gd name="T9" fmla="*/ 3029656 h 54"/>
              <a:gd name="T10" fmla="*/ 3961165 w 41"/>
              <a:gd name="T11" fmla="*/ 6058606 h 54"/>
              <a:gd name="T12" fmla="*/ 3961165 w 41"/>
              <a:gd name="T13" fmla="*/ 9088261 h 54"/>
              <a:gd name="T14" fmla="*/ 1760737 w 41"/>
              <a:gd name="T15" fmla="*/ 9088261 h 54"/>
              <a:gd name="T16" fmla="*/ 1760737 w 41"/>
              <a:gd name="T17" fmla="*/ 6058606 h 54"/>
              <a:gd name="T18" fmla="*/ 1760737 w 41"/>
              <a:gd name="T19" fmla="*/ 3029656 h 5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54"/>
              <a:gd name="T32" fmla="*/ 41 w 41"/>
              <a:gd name="T33" fmla="*/ 54 h 5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54">
                <a:moveTo>
                  <a:pt x="20" y="20"/>
                </a:moveTo>
                <a:lnTo>
                  <a:pt x="0" y="20"/>
                </a:lnTo>
                <a:lnTo>
                  <a:pt x="0" y="0"/>
                </a:lnTo>
                <a:lnTo>
                  <a:pt x="20" y="0"/>
                </a:lnTo>
                <a:lnTo>
                  <a:pt x="20" y="20"/>
                </a:lnTo>
                <a:lnTo>
                  <a:pt x="41" y="37"/>
                </a:lnTo>
                <a:lnTo>
                  <a:pt x="41" y="54"/>
                </a:lnTo>
                <a:lnTo>
                  <a:pt x="20" y="54"/>
                </a:lnTo>
                <a:lnTo>
                  <a:pt x="20" y="37"/>
                </a:lnTo>
                <a:lnTo>
                  <a:pt x="20" y="2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0" name="Freeform 166"/>
          <p:cNvSpPr>
            <a:spLocks/>
          </p:cNvSpPr>
          <p:nvPr/>
        </p:nvSpPr>
        <p:spPr bwMode="gray">
          <a:xfrm>
            <a:off x="1230313" y="2863850"/>
            <a:ext cx="44450" cy="61913"/>
          </a:xfrm>
          <a:custGeom>
            <a:avLst/>
            <a:gdLst>
              <a:gd name="T0" fmla="*/ 7756889 w 61"/>
              <a:gd name="T1" fmla="*/ 8870117 h 86"/>
              <a:gd name="T2" fmla="*/ 7756889 w 61"/>
              <a:gd name="T3" fmla="*/ 12000323 h 86"/>
              <a:gd name="T4" fmla="*/ 7756889 w 61"/>
              <a:gd name="T5" fmla="*/ 15131249 h 86"/>
              <a:gd name="T6" fmla="*/ 7756889 w 61"/>
              <a:gd name="T7" fmla="*/ 12000323 h 86"/>
              <a:gd name="T8" fmla="*/ 5171502 w 61"/>
              <a:gd name="T9" fmla="*/ 8870117 h 86"/>
              <a:gd name="T10" fmla="*/ 2585387 w 61"/>
              <a:gd name="T11" fmla="*/ 5739191 h 86"/>
              <a:gd name="T12" fmla="*/ 0 w 61"/>
              <a:gd name="T13" fmla="*/ 3130926 h 86"/>
              <a:gd name="T14" fmla="*/ 0 w 61"/>
              <a:gd name="T15" fmla="*/ 0 h 86"/>
              <a:gd name="T16" fmla="*/ 2585387 w 61"/>
              <a:gd name="T17" fmla="*/ 0 h 86"/>
              <a:gd name="T18" fmla="*/ 5171502 w 61"/>
              <a:gd name="T19" fmla="*/ 0 h 86"/>
              <a:gd name="T20" fmla="*/ 7756889 w 61"/>
              <a:gd name="T21" fmla="*/ 0 h 86"/>
              <a:gd name="T22" fmla="*/ 7756889 w 61"/>
              <a:gd name="T23" fmla="*/ 3130926 h 86"/>
              <a:gd name="T24" fmla="*/ 7756889 w 61"/>
              <a:gd name="T25" fmla="*/ 5739191 h 86"/>
              <a:gd name="T26" fmla="*/ 7756889 w 61"/>
              <a:gd name="T27" fmla="*/ 8870117 h 8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1"/>
              <a:gd name="T43" fmla="*/ 0 h 86"/>
              <a:gd name="T44" fmla="*/ 61 w 61"/>
              <a:gd name="T45" fmla="*/ 86 h 8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1" h="86">
                <a:moveTo>
                  <a:pt x="61" y="52"/>
                </a:moveTo>
                <a:lnTo>
                  <a:pt x="61" y="69"/>
                </a:lnTo>
                <a:lnTo>
                  <a:pt x="61" y="86"/>
                </a:lnTo>
                <a:lnTo>
                  <a:pt x="61" y="69"/>
                </a:lnTo>
                <a:lnTo>
                  <a:pt x="42" y="52"/>
                </a:lnTo>
                <a:lnTo>
                  <a:pt x="21" y="33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61" y="0"/>
                </a:lnTo>
                <a:lnTo>
                  <a:pt x="61" y="17"/>
                </a:lnTo>
                <a:lnTo>
                  <a:pt x="61" y="33"/>
                </a:lnTo>
                <a:lnTo>
                  <a:pt x="61" y="52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1" name="Freeform 167"/>
          <p:cNvSpPr>
            <a:spLocks/>
          </p:cNvSpPr>
          <p:nvPr/>
        </p:nvSpPr>
        <p:spPr bwMode="gray">
          <a:xfrm>
            <a:off x="852488" y="2876550"/>
            <a:ext cx="41275" cy="23813"/>
          </a:xfrm>
          <a:custGeom>
            <a:avLst/>
            <a:gdLst>
              <a:gd name="T0" fmla="*/ 4318053 w 60"/>
              <a:gd name="T1" fmla="*/ 0 h 35"/>
              <a:gd name="T2" fmla="*/ 6716818 w 60"/>
              <a:gd name="T3" fmla="*/ 0 h 35"/>
              <a:gd name="T4" fmla="*/ 6716818 w 60"/>
              <a:gd name="T5" fmla="*/ 2423483 h 35"/>
              <a:gd name="T6" fmla="*/ 4318053 w 60"/>
              <a:gd name="T7" fmla="*/ 5330710 h 35"/>
              <a:gd name="T8" fmla="*/ 2398765 w 60"/>
              <a:gd name="T9" fmla="*/ 5330710 h 35"/>
              <a:gd name="T10" fmla="*/ 0 w 60"/>
              <a:gd name="T11" fmla="*/ 5330710 h 35"/>
              <a:gd name="T12" fmla="*/ 0 w 60"/>
              <a:gd name="T13" fmla="*/ 2423483 h 35"/>
              <a:gd name="T14" fmla="*/ 2398765 w 60"/>
              <a:gd name="T15" fmla="*/ 2423483 h 35"/>
              <a:gd name="T16" fmla="*/ 4318053 w 60"/>
              <a:gd name="T17" fmla="*/ 0 h 3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0"/>
              <a:gd name="T28" fmla="*/ 0 h 35"/>
              <a:gd name="T29" fmla="*/ 60 w 60"/>
              <a:gd name="T30" fmla="*/ 35 h 3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0" h="35">
                <a:moveTo>
                  <a:pt x="39" y="0"/>
                </a:moveTo>
                <a:lnTo>
                  <a:pt x="60" y="0"/>
                </a:lnTo>
                <a:lnTo>
                  <a:pt x="60" y="16"/>
                </a:lnTo>
                <a:lnTo>
                  <a:pt x="39" y="35"/>
                </a:lnTo>
                <a:lnTo>
                  <a:pt x="20" y="35"/>
                </a:lnTo>
                <a:lnTo>
                  <a:pt x="0" y="35"/>
                </a:lnTo>
                <a:lnTo>
                  <a:pt x="0" y="16"/>
                </a:lnTo>
                <a:lnTo>
                  <a:pt x="20" y="16"/>
                </a:lnTo>
                <a:lnTo>
                  <a:pt x="39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2" name="Freeform 168"/>
          <p:cNvSpPr>
            <a:spLocks/>
          </p:cNvSpPr>
          <p:nvPr/>
        </p:nvSpPr>
        <p:spPr bwMode="gray">
          <a:xfrm>
            <a:off x="573088" y="2811463"/>
            <a:ext cx="39687" cy="11112"/>
          </a:xfrm>
          <a:custGeom>
            <a:avLst/>
            <a:gdLst>
              <a:gd name="T0" fmla="*/ 2227102 w 60"/>
              <a:gd name="T1" fmla="*/ 0 h 17"/>
              <a:gd name="T2" fmla="*/ 4009048 w 60"/>
              <a:gd name="T3" fmla="*/ 0 h 17"/>
              <a:gd name="T4" fmla="*/ 5790333 w 60"/>
              <a:gd name="T5" fmla="*/ 2157035 h 17"/>
              <a:gd name="T6" fmla="*/ 4009048 w 60"/>
              <a:gd name="T7" fmla="*/ 2157035 h 17"/>
              <a:gd name="T8" fmla="*/ 2227102 w 60"/>
              <a:gd name="T9" fmla="*/ 2157035 h 17"/>
              <a:gd name="T10" fmla="*/ 0 w 60"/>
              <a:gd name="T11" fmla="*/ 2157035 h 17"/>
              <a:gd name="T12" fmla="*/ 0 w 60"/>
              <a:gd name="T13" fmla="*/ 0 h 17"/>
              <a:gd name="T14" fmla="*/ 2227102 w 60"/>
              <a:gd name="T15" fmla="*/ 0 h 1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17"/>
              <a:gd name="T26" fmla="*/ 60 w 60"/>
              <a:gd name="T27" fmla="*/ 17 h 1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17">
                <a:moveTo>
                  <a:pt x="21" y="0"/>
                </a:moveTo>
                <a:lnTo>
                  <a:pt x="40" y="0"/>
                </a:lnTo>
                <a:lnTo>
                  <a:pt x="60" y="17"/>
                </a:lnTo>
                <a:lnTo>
                  <a:pt x="40" y="17"/>
                </a:lnTo>
                <a:lnTo>
                  <a:pt x="21" y="17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close/>
              </a:path>
            </a:pathLst>
          </a:custGeom>
          <a:solidFill>
            <a:srgbClr val="8EC6A1"/>
          </a:solidFill>
          <a:ln w="3175">
            <a:solidFill>
              <a:srgbClr val="5BAD82"/>
            </a:solidFill>
            <a:round/>
            <a:headEnd/>
            <a:tailEnd/>
          </a:ln>
        </p:spPr>
        <p:txBody>
          <a:bodyPr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3" name="Freeform 32"/>
          <p:cNvSpPr>
            <a:spLocks/>
          </p:cNvSpPr>
          <p:nvPr/>
        </p:nvSpPr>
        <p:spPr bwMode="gray">
          <a:xfrm>
            <a:off x="6511925" y="3652838"/>
            <a:ext cx="58738" cy="38100"/>
          </a:xfrm>
          <a:custGeom>
            <a:avLst/>
            <a:gdLst>
              <a:gd name="T0" fmla="*/ 0 w 80"/>
              <a:gd name="T1" fmla="*/ 2147483647 h 54"/>
              <a:gd name="T2" fmla="*/ 2147483647 w 80"/>
              <a:gd name="T3" fmla="*/ 2147483647 h 54"/>
              <a:gd name="T4" fmla="*/ 2147483647 w 80"/>
              <a:gd name="T5" fmla="*/ 2147483647 h 54"/>
              <a:gd name="T6" fmla="*/ 2147483647 w 80"/>
              <a:gd name="T7" fmla="*/ 0 h 54"/>
              <a:gd name="T8" fmla="*/ 2147483647 w 80"/>
              <a:gd name="T9" fmla="*/ 2147483647 h 54"/>
              <a:gd name="T10" fmla="*/ 2147483647 w 80"/>
              <a:gd name="T11" fmla="*/ 2147483647 h 54"/>
              <a:gd name="T12" fmla="*/ 2147483647 w 80"/>
              <a:gd name="T13" fmla="*/ 2147483647 h 54"/>
              <a:gd name="T14" fmla="*/ 2147483647 w 80"/>
              <a:gd name="T15" fmla="*/ 2147483647 h 54"/>
              <a:gd name="T16" fmla="*/ 0 w 80"/>
              <a:gd name="T17" fmla="*/ 2147483647 h 54"/>
              <a:gd name="T18" fmla="*/ 0 w 80"/>
              <a:gd name="T19" fmla="*/ 2147483647 h 5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0"/>
              <a:gd name="T31" fmla="*/ 0 h 54"/>
              <a:gd name="T32" fmla="*/ 80 w 80"/>
              <a:gd name="T33" fmla="*/ 54 h 5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0" h="54">
                <a:moveTo>
                  <a:pt x="0" y="37"/>
                </a:moveTo>
                <a:lnTo>
                  <a:pt x="21" y="18"/>
                </a:lnTo>
                <a:lnTo>
                  <a:pt x="40" y="18"/>
                </a:lnTo>
                <a:lnTo>
                  <a:pt x="61" y="0"/>
                </a:lnTo>
                <a:lnTo>
                  <a:pt x="80" y="18"/>
                </a:lnTo>
                <a:lnTo>
                  <a:pt x="61" y="37"/>
                </a:lnTo>
                <a:lnTo>
                  <a:pt x="40" y="54"/>
                </a:lnTo>
                <a:lnTo>
                  <a:pt x="21" y="54"/>
                </a:lnTo>
                <a:lnTo>
                  <a:pt x="0" y="54"/>
                </a:lnTo>
                <a:lnTo>
                  <a:pt x="0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4" name="Freeform 51"/>
          <p:cNvSpPr>
            <a:spLocks/>
          </p:cNvSpPr>
          <p:nvPr/>
        </p:nvSpPr>
        <p:spPr bwMode="gray">
          <a:xfrm>
            <a:off x="6764338" y="3549650"/>
            <a:ext cx="30162" cy="49213"/>
          </a:xfrm>
          <a:custGeom>
            <a:avLst/>
            <a:gdLst>
              <a:gd name="T0" fmla="*/ 2147483647 w 41"/>
              <a:gd name="T1" fmla="*/ 2147483647 h 71"/>
              <a:gd name="T2" fmla="*/ 0 w 41"/>
              <a:gd name="T3" fmla="*/ 2147483647 h 71"/>
              <a:gd name="T4" fmla="*/ 0 w 41"/>
              <a:gd name="T5" fmla="*/ 2147483647 h 71"/>
              <a:gd name="T6" fmla="*/ 2147483647 w 41"/>
              <a:gd name="T7" fmla="*/ 2147483647 h 71"/>
              <a:gd name="T8" fmla="*/ 2147483647 w 41"/>
              <a:gd name="T9" fmla="*/ 2147483647 h 71"/>
              <a:gd name="T10" fmla="*/ 2147483647 w 41"/>
              <a:gd name="T11" fmla="*/ 0 h 71"/>
              <a:gd name="T12" fmla="*/ 2147483647 w 41"/>
              <a:gd name="T13" fmla="*/ 2147483647 h 71"/>
              <a:gd name="T14" fmla="*/ 2147483647 w 41"/>
              <a:gd name="T15" fmla="*/ 2147483647 h 71"/>
              <a:gd name="T16" fmla="*/ 2147483647 w 41"/>
              <a:gd name="T17" fmla="*/ 2147483647 h 7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"/>
              <a:gd name="T28" fmla="*/ 0 h 71"/>
              <a:gd name="T29" fmla="*/ 41 w 41"/>
              <a:gd name="T30" fmla="*/ 71 h 7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" h="71">
                <a:moveTo>
                  <a:pt x="20" y="71"/>
                </a:moveTo>
                <a:lnTo>
                  <a:pt x="0" y="71"/>
                </a:lnTo>
                <a:lnTo>
                  <a:pt x="0" y="54"/>
                </a:lnTo>
                <a:lnTo>
                  <a:pt x="20" y="37"/>
                </a:lnTo>
                <a:lnTo>
                  <a:pt x="20" y="18"/>
                </a:lnTo>
                <a:lnTo>
                  <a:pt x="41" y="0"/>
                </a:lnTo>
                <a:lnTo>
                  <a:pt x="41" y="18"/>
                </a:lnTo>
                <a:lnTo>
                  <a:pt x="41" y="71"/>
                </a:lnTo>
                <a:lnTo>
                  <a:pt x="20" y="71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5" name="Freeform 92"/>
          <p:cNvSpPr>
            <a:spLocks/>
          </p:cNvSpPr>
          <p:nvPr/>
        </p:nvSpPr>
        <p:spPr bwMode="gray">
          <a:xfrm>
            <a:off x="4421188" y="2906713"/>
            <a:ext cx="41275" cy="52387"/>
          </a:xfrm>
          <a:custGeom>
            <a:avLst/>
            <a:gdLst>
              <a:gd name="T0" fmla="*/ 0 w 59"/>
              <a:gd name="T1" fmla="*/ 2147483647 h 73"/>
              <a:gd name="T2" fmla="*/ 2147483647 w 59"/>
              <a:gd name="T3" fmla="*/ 2147483647 h 73"/>
              <a:gd name="T4" fmla="*/ 0 w 59"/>
              <a:gd name="T5" fmla="*/ 2147483647 h 73"/>
              <a:gd name="T6" fmla="*/ 0 w 59"/>
              <a:gd name="T7" fmla="*/ 2147483647 h 73"/>
              <a:gd name="T8" fmla="*/ 0 w 59"/>
              <a:gd name="T9" fmla="*/ 2147483647 h 73"/>
              <a:gd name="T10" fmla="*/ 0 w 59"/>
              <a:gd name="T11" fmla="*/ 0 h 73"/>
              <a:gd name="T12" fmla="*/ 2147483647 w 59"/>
              <a:gd name="T13" fmla="*/ 0 h 73"/>
              <a:gd name="T14" fmla="*/ 2147483647 w 59"/>
              <a:gd name="T15" fmla="*/ 0 h 73"/>
              <a:gd name="T16" fmla="*/ 2147483647 w 59"/>
              <a:gd name="T17" fmla="*/ 2147483647 h 73"/>
              <a:gd name="T18" fmla="*/ 2147483647 w 59"/>
              <a:gd name="T19" fmla="*/ 2147483647 h 73"/>
              <a:gd name="T20" fmla="*/ 2147483647 w 59"/>
              <a:gd name="T21" fmla="*/ 2147483647 h 73"/>
              <a:gd name="T22" fmla="*/ 2147483647 w 59"/>
              <a:gd name="T23" fmla="*/ 2147483647 h 73"/>
              <a:gd name="T24" fmla="*/ 0 w 59"/>
              <a:gd name="T25" fmla="*/ 2147483647 h 73"/>
              <a:gd name="T26" fmla="*/ 0 w 59"/>
              <a:gd name="T27" fmla="*/ 2147483647 h 7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9"/>
              <a:gd name="T43" fmla="*/ 0 h 73"/>
              <a:gd name="T44" fmla="*/ 59 w 59"/>
              <a:gd name="T45" fmla="*/ 73 h 7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9" h="73">
                <a:moveTo>
                  <a:pt x="0" y="54"/>
                </a:moveTo>
                <a:lnTo>
                  <a:pt x="19" y="54"/>
                </a:lnTo>
                <a:lnTo>
                  <a:pt x="0" y="54"/>
                </a:lnTo>
                <a:lnTo>
                  <a:pt x="0" y="37"/>
                </a:lnTo>
                <a:lnTo>
                  <a:pt x="0" y="17"/>
                </a:lnTo>
                <a:lnTo>
                  <a:pt x="0" y="0"/>
                </a:lnTo>
                <a:lnTo>
                  <a:pt x="19" y="0"/>
                </a:lnTo>
                <a:lnTo>
                  <a:pt x="40" y="0"/>
                </a:lnTo>
                <a:lnTo>
                  <a:pt x="59" y="17"/>
                </a:lnTo>
                <a:lnTo>
                  <a:pt x="59" y="37"/>
                </a:lnTo>
                <a:lnTo>
                  <a:pt x="40" y="54"/>
                </a:lnTo>
                <a:lnTo>
                  <a:pt x="19" y="73"/>
                </a:lnTo>
                <a:lnTo>
                  <a:pt x="0" y="73"/>
                </a:lnTo>
                <a:lnTo>
                  <a:pt x="0" y="54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6" name="Freeform 93"/>
          <p:cNvSpPr>
            <a:spLocks/>
          </p:cNvSpPr>
          <p:nvPr/>
        </p:nvSpPr>
        <p:spPr bwMode="gray">
          <a:xfrm>
            <a:off x="4573588" y="2879725"/>
            <a:ext cx="12700" cy="22225"/>
          </a:xfrm>
          <a:custGeom>
            <a:avLst/>
            <a:gdLst>
              <a:gd name="T0" fmla="*/ 2147483647 w 21"/>
              <a:gd name="T1" fmla="*/ 2147483647 h 33"/>
              <a:gd name="T2" fmla="*/ 0 w 21"/>
              <a:gd name="T3" fmla="*/ 2147483647 h 33"/>
              <a:gd name="T4" fmla="*/ 0 w 21"/>
              <a:gd name="T5" fmla="*/ 2147483647 h 33"/>
              <a:gd name="T6" fmla="*/ 0 w 21"/>
              <a:gd name="T7" fmla="*/ 0 h 33"/>
              <a:gd name="T8" fmla="*/ 2147483647 w 21"/>
              <a:gd name="T9" fmla="*/ 0 h 33"/>
              <a:gd name="T10" fmla="*/ 2147483647 w 21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33"/>
              <a:gd name="T20" fmla="*/ 21 w 21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33">
                <a:moveTo>
                  <a:pt x="21" y="17"/>
                </a:moveTo>
                <a:lnTo>
                  <a:pt x="0" y="33"/>
                </a:lnTo>
                <a:lnTo>
                  <a:pt x="0" y="17"/>
                </a:lnTo>
                <a:lnTo>
                  <a:pt x="0" y="0"/>
                </a:lnTo>
                <a:lnTo>
                  <a:pt x="21" y="0"/>
                </a:lnTo>
                <a:lnTo>
                  <a:pt x="2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7" name="Freeform 95"/>
          <p:cNvSpPr>
            <a:spLocks/>
          </p:cNvSpPr>
          <p:nvPr/>
        </p:nvSpPr>
        <p:spPr bwMode="gray">
          <a:xfrm>
            <a:off x="4392613" y="2935288"/>
            <a:ext cx="28575" cy="9525"/>
          </a:xfrm>
          <a:custGeom>
            <a:avLst/>
            <a:gdLst>
              <a:gd name="T0" fmla="*/ 2147483647 w 41"/>
              <a:gd name="T1" fmla="*/ 2147483647 h 17"/>
              <a:gd name="T2" fmla="*/ 2147483647 w 41"/>
              <a:gd name="T3" fmla="*/ 2147483647 h 17"/>
              <a:gd name="T4" fmla="*/ 0 w 41"/>
              <a:gd name="T5" fmla="*/ 2147483647 h 17"/>
              <a:gd name="T6" fmla="*/ 0 w 41"/>
              <a:gd name="T7" fmla="*/ 0 h 17"/>
              <a:gd name="T8" fmla="*/ 2147483647 w 41"/>
              <a:gd name="T9" fmla="*/ 0 h 17"/>
              <a:gd name="T10" fmla="*/ 2147483647 w 41"/>
              <a:gd name="T11" fmla="*/ 0 h 17"/>
              <a:gd name="T12" fmla="*/ 2147483647 w 41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17"/>
              <a:gd name="T23" fmla="*/ 41 w 4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17">
                <a:moveTo>
                  <a:pt x="41" y="17"/>
                </a:moveTo>
                <a:lnTo>
                  <a:pt x="20" y="17"/>
                </a:lnTo>
                <a:lnTo>
                  <a:pt x="0" y="17"/>
                </a:ln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1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8" name="Freeform 96"/>
          <p:cNvSpPr>
            <a:spLocks/>
          </p:cNvSpPr>
          <p:nvPr/>
        </p:nvSpPr>
        <p:spPr bwMode="gray">
          <a:xfrm>
            <a:off x="4646613" y="2838450"/>
            <a:ext cx="25400" cy="41275"/>
          </a:xfrm>
          <a:custGeom>
            <a:avLst/>
            <a:gdLst>
              <a:gd name="T0" fmla="*/ 2147483647 w 39"/>
              <a:gd name="T1" fmla="*/ 2147483647 h 56"/>
              <a:gd name="T2" fmla="*/ 2147483647 w 39"/>
              <a:gd name="T3" fmla="*/ 2147483647 h 56"/>
              <a:gd name="T4" fmla="*/ 0 w 39"/>
              <a:gd name="T5" fmla="*/ 2147483647 h 56"/>
              <a:gd name="T6" fmla="*/ 0 w 39"/>
              <a:gd name="T7" fmla="*/ 2147483647 h 56"/>
              <a:gd name="T8" fmla="*/ 2147483647 w 39"/>
              <a:gd name="T9" fmla="*/ 2147483647 h 56"/>
              <a:gd name="T10" fmla="*/ 0 w 39"/>
              <a:gd name="T11" fmla="*/ 2147483647 h 56"/>
              <a:gd name="T12" fmla="*/ 0 w 39"/>
              <a:gd name="T13" fmla="*/ 2147483647 h 56"/>
              <a:gd name="T14" fmla="*/ 2147483647 w 39"/>
              <a:gd name="T15" fmla="*/ 0 h 56"/>
              <a:gd name="T16" fmla="*/ 2147483647 w 39"/>
              <a:gd name="T17" fmla="*/ 2147483647 h 56"/>
              <a:gd name="T18" fmla="*/ 2147483647 w 39"/>
              <a:gd name="T19" fmla="*/ 2147483647 h 56"/>
              <a:gd name="T20" fmla="*/ 2147483647 w 39"/>
              <a:gd name="T21" fmla="*/ 2147483647 h 56"/>
              <a:gd name="T22" fmla="*/ 2147483647 w 39"/>
              <a:gd name="T23" fmla="*/ 2147483647 h 5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56"/>
              <a:gd name="T38" fmla="*/ 39 w 39"/>
              <a:gd name="T39" fmla="*/ 56 h 5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56">
                <a:moveTo>
                  <a:pt x="19" y="37"/>
                </a:moveTo>
                <a:lnTo>
                  <a:pt x="19" y="56"/>
                </a:lnTo>
                <a:lnTo>
                  <a:pt x="0" y="56"/>
                </a:lnTo>
                <a:lnTo>
                  <a:pt x="0" y="37"/>
                </a:lnTo>
                <a:lnTo>
                  <a:pt x="19" y="37"/>
                </a:lnTo>
                <a:lnTo>
                  <a:pt x="0" y="37"/>
                </a:lnTo>
                <a:lnTo>
                  <a:pt x="0" y="20"/>
                </a:lnTo>
                <a:lnTo>
                  <a:pt x="19" y="0"/>
                </a:lnTo>
                <a:lnTo>
                  <a:pt x="19" y="20"/>
                </a:lnTo>
                <a:lnTo>
                  <a:pt x="39" y="20"/>
                </a:lnTo>
                <a:lnTo>
                  <a:pt x="19" y="20"/>
                </a:lnTo>
                <a:lnTo>
                  <a:pt x="19" y="37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69" name="Freeform 114"/>
          <p:cNvSpPr>
            <a:spLocks/>
          </p:cNvSpPr>
          <p:nvPr/>
        </p:nvSpPr>
        <p:spPr bwMode="gray">
          <a:xfrm>
            <a:off x="5332413" y="3946525"/>
            <a:ext cx="12700" cy="0"/>
          </a:xfrm>
          <a:custGeom>
            <a:avLst/>
            <a:gdLst>
              <a:gd name="T0" fmla="*/ 0 w 21"/>
              <a:gd name="T1" fmla="*/ 2147483647 w 21"/>
              <a:gd name="T2" fmla="*/ 0 w 21"/>
              <a:gd name="T3" fmla="*/ 0 60000 65536"/>
              <a:gd name="T4" fmla="*/ 0 60000 65536"/>
              <a:gd name="T5" fmla="*/ 0 60000 65536"/>
              <a:gd name="T6" fmla="*/ 0 w 21"/>
              <a:gd name="T7" fmla="*/ 21 w 21"/>
            </a:gdLst>
            <a:ahLst/>
            <a:cxnLst>
              <a:cxn ang="T3">
                <a:pos x="T0" y="0"/>
              </a:cxn>
              <a:cxn ang="T4">
                <a:pos x="T1" y="0"/>
              </a:cxn>
              <a:cxn ang="T5">
                <a:pos x="T2" y="0"/>
              </a:cxn>
            </a:cxnLst>
            <a:rect l="T6" t="0" r="T7" b="0"/>
            <a:pathLst>
              <a:path w="21">
                <a:moveTo>
                  <a:pt x="0" y="0"/>
                </a:moveTo>
                <a:lnTo>
                  <a:pt x="21" y="0"/>
                </a:lnTo>
                <a:lnTo>
                  <a:pt x="0" y="0"/>
                </a:lnTo>
                <a:close/>
              </a:path>
            </a:pathLst>
          </a:custGeom>
          <a:solidFill>
            <a:srgbClr val="8EC6A1"/>
          </a:solidFill>
          <a:ln w="9525">
            <a:solidFill>
              <a:srgbClr val="8EC6A1"/>
            </a:solidFill>
            <a:round/>
            <a:headEnd/>
            <a:tailEnd/>
          </a:ln>
        </p:spPr>
        <p:txBody>
          <a:bodyPr lIns="77920" tIns="38961" rIns="77920" bIns="38961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grpSp>
        <p:nvGrpSpPr>
          <p:cNvPr id="8370" name="Group 296"/>
          <p:cNvGrpSpPr>
            <a:grpSpLocks/>
          </p:cNvGrpSpPr>
          <p:nvPr/>
        </p:nvGrpSpPr>
        <p:grpSpPr bwMode="auto">
          <a:xfrm rot="2630457">
            <a:off x="6230938" y="3067050"/>
            <a:ext cx="1125537" cy="1198563"/>
            <a:chOff x="4217" y="2041"/>
            <a:chExt cx="838" cy="868"/>
          </a:xfrm>
        </p:grpSpPr>
        <p:sp>
          <p:nvSpPr>
            <p:cNvPr id="8465" name="Arc 297"/>
            <p:cNvSpPr>
              <a:spLocks/>
            </p:cNvSpPr>
            <p:nvPr/>
          </p:nvSpPr>
          <p:spPr bwMode="gray">
            <a:xfrm>
              <a:off x="4635" y="2041"/>
              <a:ext cx="420" cy="4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FF0000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6" name="Arc 298"/>
            <p:cNvSpPr>
              <a:spLocks/>
            </p:cNvSpPr>
            <p:nvPr/>
          </p:nvSpPr>
          <p:spPr bwMode="gray">
            <a:xfrm flipV="1">
              <a:off x="4635" y="2475"/>
              <a:ext cx="420" cy="4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FF0000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7" name="Arc 299"/>
            <p:cNvSpPr>
              <a:spLocks/>
            </p:cNvSpPr>
            <p:nvPr/>
          </p:nvSpPr>
          <p:spPr bwMode="gray">
            <a:xfrm flipH="1" flipV="1">
              <a:off x="4217" y="2475"/>
              <a:ext cx="420" cy="43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FF0000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8371" name="Arc 303"/>
          <p:cNvSpPr>
            <a:spLocks/>
          </p:cNvSpPr>
          <p:nvPr/>
        </p:nvSpPr>
        <p:spPr bwMode="gray">
          <a:xfrm>
            <a:off x="4421188" y="2733675"/>
            <a:ext cx="298450" cy="358775"/>
          </a:xfrm>
          <a:custGeom>
            <a:avLst/>
            <a:gdLst>
              <a:gd name="T0" fmla="*/ 292023 w 29395"/>
              <a:gd name="T1" fmla="*/ 0 h 21600"/>
              <a:gd name="T2" fmla="*/ 2519448 w 29395"/>
              <a:gd name="T3" fmla="*/ 5959452 h 21600"/>
              <a:gd name="T4" fmla="*/ 0 w 29395"/>
              <a:gd name="T5" fmla="*/ 5117128 h 21600"/>
              <a:gd name="T6" fmla="*/ 292023 w 29395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9395" h="21600" fill="none" extrusionOk="0">
                <a:moveTo>
                  <a:pt x="2832" y="0"/>
                </a:moveTo>
                <a:cubicBezTo>
                  <a:pt x="14762" y="0"/>
                  <a:pt x="29395" y="9056"/>
                  <a:pt x="24433" y="21600"/>
                </a:cubicBezTo>
              </a:path>
              <a:path w="29395" h="21600" stroke="0" extrusionOk="0">
                <a:moveTo>
                  <a:pt x="2832" y="0"/>
                </a:moveTo>
                <a:cubicBezTo>
                  <a:pt x="14762" y="0"/>
                  <a:pt x="24433" y="9670"/>
                  <a:pt x="24433" y="21600"/>
                </a:cubicBezTo>
                <a:lnTo>
                  <a:pt x="0" y="18547"/>
                </a:lnTo>
                <a:cubicBezTo>
                  <a:pt x="0" y="11347"/>
                  <a:pt x="2832" y="7200"/>
                  <a:pt x="2832" y="0"/>
                </a:cubicBezTo>
                <a:close/>
              </a:path>
            </a:pathLst>
          </a:custGeom>
          <a:noFill/>
          <a:ln w="34925">
            <a:solidFill>
              <a:srgbClr val="EEA632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5" tIns="77925" rIns="77925" bIns="77925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2" name="Arc 304"/>
          <p:cNvSpPr>
            <a:spLocks/>
          </p:cNvSpPr>
          <p:nvPr/>
        </p:nvSpPr>
        <p:spPr bwMode="gray">
          <a:xfrm flipV="1">
            <a:off x="4359275" y="3087688"/>
            <a:ext cx="309563" cy="274637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4925">
            <a:solidFill>
              <a:srgbClr val="EEA632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5" tIns="77925" rIns="77925" bIns="77925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3" name="Arc 305"/>
          <p:cNvSpPr>
            <a:spLocks/>
          </p:cNvSpPr>
          <p:nvPr/>
        </p:nvSpPr>
        <p:spPr bwMode="gray">
          <a:xfrm flipH="1" flipV="1">
            <a:off x="4051300" y="3087688"/>
            <a:ext cx="309563" cy="274637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4925">
            <a:solidFill>
              <a:srgbClr val="EEA632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5" tIns="77925" rIns="77925" bIns="77925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4" name="Arc 307"/>
          <p:cNvSpPr>
            <a:spLocks/>
          </p:cNvSpPr>
          <p:nvPr/>
        </p:nvSpPr>
        <p:spPr bwMode="gray">
          <a:xfrm rot="-2624365">
            <a:off x="801688" y="3206750"/>
            <a:ext cx="1122362" cy="923925"/>
          </a:xfrm>
          <a:custGeom>
            <a:avLst/>
            <a:gdLst>
              <a:gd name="T0" fmla="*/ 2147483647 w 20401"/>
              <a:gd name="T1" fmla="*/ 0 h 21374"/>
              <a:gd name="T2" fmla="*/ 2147483647 w 20401"/>
              <a:gd name="T3" fmla="*/ 2147483647 h 21374"/>
              <a:gd name="T4" fmla="*/ 0 w 20401"/>
              <a:gd name="T5" fmla="*/ 2147483647 h 21374"/>
              <a:gd name="T6" fmla="*/ 0 60000 65536"/>
              <a:gd name="T7" fmla="*/ 0 60000 65536"/>
              <a:gd name="T8" fmla="*/ 0 60000 65536"/>
              <a:gd name="T9" fmla="*/ 0 w 20401"/>
              <a:gd name="T10" fmla="*/ 0 h 21374"/>
              <a:gd name="T11" fmla="*/ 20401 w 20401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401" h="21374" fill="none" extrusionOk="0">
                <a:moveTo>
                  <a:pt x="3119" y="0"/>
                </a:moveTo>
                <a:cubicBezTo>
                  <a:pt x="11092" y="1164"/>
                  <a:pt x="17754" y="6668"/>
                  <a:pt x="20401" y="14278"/>
                </a:cubicBezTo>
              </a:path>
              <a:path w="20401" h="21374" stroke="0" extrusionOk="0">
                <a:moveTo>
                  <a:pt x="3119" y="0"/>
                </a:moveTo>
                <a:cubicBezTo>
                  <a:pt x="11092" y="1164"/>
                  <a:pt x="17754" y="6668"/>
                  <a:pt x="20401" y="14278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1750">
            <a:solidFill>
              <a:srgbClr val="FF0000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5" name="Arc 308"/>
          <p:cNvSpPr>
            <a:spLocks/>
          </p:cNvSpPr>
          <p:nvPr/>
        </p:nvSpPr>
        <p:spPr bwMode="gray">
          <a:xfrm rot="-3486017">
            <a:off x="661194" y="3650457"/>
            <a:ext cx="384175" cy="617537"/>
          </a:xfrm>
          <a:custGeom>
            <a:avLst/>
            <a:gdLst>
              <a:gd name="T0" fmla="*/ 2147483647 w 10436"/>
              <a:gd name="T1" fmla="*/ 0 h 21374"/>
              <a:gd name="T2" fmla="*/ 2147483647 w 10436"/>
              <a:gd name="T3" fmla="*/ 2147483647 h 21374"/>
              <a:gd name="T4" fmla="*/ 0 w 10436"/>
              <a:gd name="T5" fmla="*/ 2147483647 h 21374"/>
              <a:gd name="T6" fmla="*/ 0 60000 65536"/>
              <a:gd name="T7" fmla="*/ 0 60000 65536"/>
              <a:gd name="T8" fmla="*/ 0 60000 65536"/>
              <a:gd name="T9" fmla="*/ 0 w 10436"/>
              <a:gd name="T10" fmla="*/ 0 h 21374"/>
              <a:gd name="T11" fmla="*/ 10436 w 10436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436" h="21374" fill="none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</a:path>
              <a:path w="10436" h="21374" stroke="0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4290">
            <a:solidFill>
              <a:srgbClr val="FF0000"/>
            </a:solidFill>
            <a:prstDash val="sysDot"/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6" name="Arc 311"/>
          <p:cNvSpPr>
            <a:spLocks/>
          </p:cNvSpPr>
          <p:nvPr/>
        </p:nvSpPr>
        <p:spPr bwMode="gray">
          <a:xfrm rot="10800000" flipH="1">
            <a:off x="3141663" y="3179763"/>
            <a:ext cx="1158875" cy="1428750"/>
          </a:xfrm>
          <a:custGeom>
            <a:avLst/>
            <a:gdLst>
              <a:gd name="T0" fmla="*/ 2147483647 w 21446"/>
              <a:gd name="T1" fmla="*/ 0 h 21599"/>
              <a:gd name="T2" fmla="*/ 2147483647 w 21446"/>
              <a:gd name="T3" fmla="*/ 2147483647 h 21599"/>
              <a:gd name="T4" fmla="*/ 0 w 21446"/>
              <a:gd name="T5" fmla="*/ 2147483647 h 21599"/>
              <a:gd name="T6" fmla="*/ 0 60000 65536"/>
              <a:gd name="T7" fmla="*/ 0 60000 65536"/>
              <a:gd name="T8" fmla="*/ 0 60000 65536"/>
              <a:gd name="T9" fmla="*/ 0 w 21446"/>
              <a:gd name="T10" fmla="*/ 0 h 21599"/>
              <a:gd name="T11" fmla="*/ 21446 w 21446"/>
              <a:gd name="T12" fmla="*/ 21599 h 21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46" h="21599" fill="none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</a:path>
              <a:path w="21446" h="21599" stroke="0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  <a:lnTo>
                  <a:pt x="0" y="21599"/>
                </a:lnTo>
                <a:lnTo>
                  <a:pt x="178" y="-1"/>
                </a:lnTo>
                <a:close/>
              </a:path>
            </a:pathLst>
          </a:custGeom>
          <a:noFill/>
          <a:ln w="31750">
            <a:solidFill>
              <a:srgbClr val="EEA632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7" name="Freeform 312"/>
          <p:cNvSpPr>
            <a:spLocks/>
          </p:cNvSpPr>
          <p:nvPr/>
        </p:nvSpPr>
        <p:spPr bwMode="gray">
          <a:xfrm rot="627442">
            <a:off x="7300913" y="3884613"/>
            <a:ext cx="598487" cy="796925"/>
          </a:xfrm>
          <a:custGeom>
            <a:avLst/>
            <a:gdLst>
              <a:gd name="T0" fmla="*/ 2147483647 w 516"/>
              <a:gd name="T1" fmla="*/ 2147483647 h 1059"/>
              <a:gd name="T2" fmla="*/ 2147483647 w 516"/>
              <a:gd name="T3" fmla="*/ 2147483647 h 1059"/>
              <a:gd name="T4" fmla="*/ 0 w 516"/>
              <a:gd name="T5" fmla="*/ 0 h 1059"/>
              <a:gd name="T6" fmla="*/ 0 60000 65536"/>
              <a:gd name="T7" fmla="*/ 0 60000 65536"/>
              <a:gd name="T8" fmla="*/ 0 60000 65536"/>
              <a:gd name="T9" fmla="*/ 0 w 516"/>
              <a:gd name="T10" fmla="*/ 0 h 1059"/>
              <a:gd name="T11" fmla="*/ 516 w 516"/>
              <a:gd name="T12" fmla="*/ 1059 h 105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16" h="1059">
                <a:moveTo>
                  <a:pt x="360" y="1059"/>
                </a:moveTo>
                <a:cubicBezTo>
                  <a:pt x="438" y="859"/>
                  <a:pt x="516" y="659"/>
                  <a:pt x="456" y="483"/>
                </a:cubicBezTo>
                <a:cubicBezTo>
                  <a:pt x="396" y="307"/>
                  <a:pt x="198" y="153"/>
                  <a:pt x="0" y="0"/>
                </a:cubicBezTo>
              </a:path>
            </a:pathLst>
          </a:custGeom>
          <a:noFill/>
          <a:ln w="31750">
            <a:solidFill>
              <a:srgbClr val="FF0000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8" name="Freeform 313"/>
          <p:cNvSpPr>
            <a:spLocks/>
          </p:cNvSpPr>
          <p:nvPr/>
        </p:nvSpPr>
        <p:spPr bwMode="gray">
          <a:xfrm>
            <a:off x="3090863" y="4175125"/>
            <a:ext cx="3775075" cy="793750"/>
          </a:xfrm>
          <a:custGeom>
            <a:avLst/>
            <a:gdLst>
              <a:gd name="T0" fmla="*/ 0 w 2668"/>
              <a:gd name="T1" fmla="*/ 2147483647 h 1154"/>
              <a:gd name="T2" fmla="*/ 2147483647 w 2668"/>
              <a:gd name="T3" fmla="*/ 2147483647 h 1154"/>
              <a:gd name="T4" fmla="*/ 2147483647 w 2668"/>
              <a:gd name="T5" fmla="*/ 2147483647 h 1154"/>
              <a:gd name="T6" fmla="*/ 2147483647 w 2668"/>
              <a:gd name="T7" fmla="*/ 2147483647 h 1154"/>
              <a:gd name="T8" fmla="*/ 2147483647 w 2668"/>
              <a:gd name="T9" fmla="*/ 0 h 11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68"/>
              <a:gd name="T16" fmla="*/ 0 h 1154"/>
              <a:gd name="T17" fmla="*/ 2668 w 2668"/>
              <a:gd name="T18" fmla="*/ 1154 h 11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68" h="1154">
                <a:moveTo>
                  <a:pt x="0" y="965"/>
                </a:moveTo>
                <a:cubicBezTo>
                  <a:pt x="169" y="995"/>
                  <a:pt x="698" y="1154"/>
                  <a:pt x="1016" y="1146"/>
                </a:cubicBezTo>
                <a:cubicBezTo>
                  <a:pt x="1348" y="1131"/>
                  <a:pt x="1661" y="1038"/>
                  <a:pt x="1911" y="918"/>
                </a:cubicBezTo>
                <a:cubicBezTo>
                  <a:pt x="2161" y="798"/>
                  <a:pt x="2349" y="647"/>
                  <a:pt x="2466" y="513"/>
                </a:cubicBezTo>
                <a:cubicBezTo>
                  <a:pt x="2582" y="379"/>
                  <a:pt x="2626" y="107"/>
                  <a:pt x="2668" y="0"/>
                </a:cubicBezTo>
              </a:path>
            </a:pathLst>
          </a:custGeom>
          <a:noFill/>
          <a:ln w="31750">
            <a:solidFill>
              <a:srgbClr val="FF0000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79" name="Text Box 198"/>
          <p:cNvSpPr txBox="1">
            <a:spLocks noChangeArrowheads="1"/>
          </p:cNvSpPr>
          <p:nvPr/>
        </p:nvSpPr>
        <p:spPr bwMode="auto">
          <a:xfrm>
            <a:off x="1006475" y="3660775"/>
            <a:ext cx="427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4.3%)</a:t>
            </a:r>
          </a:p>
        </p:txBody>
      </p:sp>
      <p:sp>
        <p:nvSpPr>
          <p:cNvPr id="8380" name="Text Box 201"/>
          <p:cNvSpPr txBox="1">
            <a:spLocks noChangeArrowheads="1"/>
          </p:cNvSpPr>
          <p:nvPr/>
        </p:nvSpPr>
        <p:spPr bwMode="auto">
          <a:xfrm>
            <a:off x="7889875" y="4222750"/>
            <a:ext cx="431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6.7%)</a:t>
            </a:r>
          </a:p>
        </p:txBody>
      </p:sp>
      <p:sp>
        <p:nvSpPr>
          <p:cNvPr id="8381" name="Text Box 202"/>
          <p:cNvSpPr txBox="1">
            <a:spLocks noChangeArrowheads="1"/>
          </p:cNvSpPr>
          <p:nvPr/>
        </p:nvSpPr>
        <p:spPr bwMode="auto">
          <a:xfrm>
            <a:off x="5227638" y="5049838"/>
            <a:ext cx="441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6.9%)</a:t>
            </a:r>
          </a:p>
        </p:txBody>
      </p:sp>
      <p:sp>
        <p:nvSpPr>
          <p:cNvPr id="8382" name="Text Box 203"/>
          <p:cNvSpPr txBox="1">
            <a:spLocks noChangeArrowheads="1"/>
          </p:cNvSpPr>
          <p:nvPr/>
        </p:nvSpPr>
        <p:spPr bwMode="auto">
          <a:xfrm>
            <a:off x="3978275" y="4222750"/>
            <a:ext cx="396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7.1%)</a:t>
            </a:r>
          </a:p>
        </p:txBody>
      </p:sp>
      <p:sp>
        <p:nvSpPr>
          <p:cNvPr id="8383" name="Text Box 205"/>
          <p:cNvSpPr txBox="1">
            <a:spLocks noChangeArrowheads="1"/>
          </p:cNvSpPr>
          <p:nvPr/>
        </p:nvSpPr>
        <p:spPr bwMode="auto">
          <a:xfrm>
            <a:off x="5854700" y="2787650"/>
            <a:ext cx="4286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3.0%)</a:t>
            </a:r>
          </a:p>
        </p:txBody>
      </p:sp>
      <p:sp>
        <p:nvSpPr>
          <p:cNvPr id="8384" name="Arc 306"/>
          <p:cNvSpPr>
            <a:spLocks/>
          </p:cNvSpPr>
          <p:nvPr/>
        </p:nvSpPr>
        <p:spPr bwMode="gray">
          <a:xfrm rot="-2815659">
            <a:off x="7517606" y="2847182"/>
            <a:ext cx="706437" cy="1263650"/>
          </a:xfrm>
          <a:custGeom>
            <a:avLst/>
            <a:gdLst>
              <a:gd name="T0" fmla="*/ 0 w 22717"/>
              <a:gd name="T1" fmla="*/ 2147483647 h 21600"/>
              <a:gd name="T2" fmla="*/ 2147483647 w 22717"/>
              <a:gd name="T3" fmla="*/ 2147483647 h 21600"/>
              <a:gd name="T4" fmla="*/ 2147483647 w 22717"/>
              <a:gd name="T5" fmla="*/ 2147483647 h 21600"/>
              <a:gd name="T6" fmla="*/ 0 60000 65536"/>
              <a:gd name="T7" fmla="*/ 0 60000 65536"/>
              <a:gd name="T8" fmla="*/ 0 60000 65536"/>
              <a:gd name="T9" fmla="*/ 0 w 22717"/>
              <a:gd name="T10" fmla="*/ 0 h 21600"/>
              <a:gd name="T11" fmla="*/ 22717 w 2271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717" h="21600" fill="none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</a:path>
              <a:path w="22717" h="21600" stroke="0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  <a:lnTo>
                  <a:pt x="1228" y="21600"/>
                </a:lnTo>
                <a:lnTo>
                  <a:pt x="-1" y="34"/>
                </a:lnTo>
                <a:close/>
              </a:path>
            </a:pathLst>
          </a:custGeom>
          <a:noFill/>
          <a:ln w="31750">
            <a:solidFill>
              <a:srgbClr val="FF0000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85" name="Arc 309"/>
          <p:cNvSpPr>
            <a:spLocks/>
          </p:cNvSpPr>
          <p:nvPr/>
        </p:nvSpPr>
        <p:spPr bwMode="gray">
          <a:xfrm rot="3486017" flipH="1">
            <a:off x="8192294" y="3601244"/>
            <a:ext cx="384175" cy="617537"/>
          </a:xfrm>
          <a:custGeom>
            <a:avLst/>
            <a:gdLst>
              <a:gd name="T0" fmla="*/ 2147483647 w 10436"/>
              <a:gd name="T1" fmla="*/ 0 h 21374"/>
              <a:gd name="T2" fmla="*/ 2147483647 w 10436"/>
              <a:gd name="T3" fmla="*/ 2147483647 h 21374"/>
              <a:gd name="T4" fmla="*/ 0 w 10436"/>
              <a:gd name="T5" fmla="*/ 2147483647 h 21374"/>
              <a:gd name="T6" fmla="*/ 0 60000 65536"/>
              <a:gd name="T7" fmla="*/ 0 60000 65536"/>
              <a:gd name="T8" fmla="*/ 0 60000 65536"/>
              <a:gd name="T9" fmla="*/ 0 w 10436"/>
              <a:gd name="T10" fmla="*/ 0 h 21374"/>
              <a:gd name="T11" fmla="*/ 10436 w 10436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436" h="21374" fill="none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</a:path>
              <a:path w="10436" h="21374" stroke="0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4290">
            <a:solidFill>
              <a:srgbClr val="FF0000"/>
            </a:solidFill>
            <a:prstDash val="sysDot"/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86" name="Arc 307"/>
          <p:cNvSpPr>
            <a:spLocks/>
          </p:cNvSpPr>
          <p:nvPr/>
        </p:nvSpPr>
        <p:spPr bwMode="gray">
          <a:xfrm rot="-2624365">
            <a:off x="614363" y="2992438"/>
            <a:ext cx="1122362" cy="923925"/>
          </a:xfrm>
          <a:custGeom>
            <a:avLst/>
            <a:gdLst>
              <a:gd name="T0" fmla="*/ 2147483647 w 20401"/>
              <a:gd name="T1" fmla="*/ 0 h 21374"/>
              <a:gd name="T2" fmla="*/ 2147483647 w 20401"/>
              <a:gd name="T3" fmla="*/ 2147483647 h 21374"/>
              <a:gd name="T4" fmla="*/ 0 w 20401"/>
              <a:gd name="T5" fmla="*/ 2147483647 h 21374"/>
              <a:gd name="T6" fmla="*/ 0 60000 65536"/>
              <a:gd name="T7" fmla="*/ 0 60000 65536"/>
              <a:gd name="T8" fmla="*/ 0 60000 65536"/>
              <a:gd name="T9" fmla="*/ 0 w 20401"/>
              <a:gd name="T10" fmla="*/ 0 h 21374"/>
              <a:gd name="T11" fmla="*/ 20401 w 20401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401" h="21374" fill="none" extrusionOk="0">
                <a:moveTo>
                  <a:pt x="3119" y="0"/>
                </a:moveTo>
                <a:cubicBezTo>
                  <a:pt x="11092" y="1164"/>
                  <a:pt x="17754" y="6668"/>
                  <a:pt x="20401" y="14278"/>
                </a:cubicBezTo>
              </a:path>
              <a:path w="20401" h="21374" stroke="0" extrusionOk="0">
                <a:moveTo>
                  <a:pt x="3119" y="0"/>
                </a:moveTo>
                <a:cubicBezTo>
                  <a:pt x="11092" y="1164"/>
                  <a:pt x="17754" y="6668"/>
                  <a:pt x="20401" y="14278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87" name="Arc 300"/>
          <p:cNvSpPr>
            <a:spLocks/>
          </p:cNvSpPr>
          <p:nvPr/>
        </p:nvSpPr>
        <p:spPr bwMode="gray">
          <a:xfrm rot="10620668">
            <a:off x="4460875" y="2476500"/>
            <a:ext cx="2125663" cy="1801813"/>
          </a:xfrm>
          <a:custGeom>
            <a:avLst/>
            <a:gdLst>
              <a:gd name="T0" fmla="*/ 2147483647 w 19317"/>
              <a:gd name="T1" fmla="*/ 0 h 21597"/>
              <a:gd name="T2" fmla="*/ 2147483647 w 19317"/>
              <a:gd name="T3" fmla="*/ 2147483647 h 21597"/>
              <a:gd name="T4" fmla="*/ 0 w 19317"/>
              <a:gd name="T5" fmla="*/ 2147483647 h 21597"/>
              <a:gd name="T6" fmla="*/ 0 60000 65536"/>
              <a:gd name="T7" fmla="*/ 0 60000 65536"/>
              <a:gd name="T8" fmla="*/ 0 60000 65536"/>
              <a:gd name="T9" fmla="*/ 0 w 19317"/>
              <a:gd name="T10" fmla="*/ 0 h 21597"/>
              <a:gd name="T11" fmla="*/ 19317 w 19317"/>
              <a:gd name="T12" fmla="*/ 21597 h 2159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317" h="21597" fill="none" extrusionOk="0">
                <a:moveTo>
                  <a:pt x="361" y="0"/>
                </a:moveTo>
                <a:cubicBezTo>
                  <a:pt x="8409" y="134"/>
                  <a:pt x="15715" y="4733"/>
                  <a:pt x="19317" y="11931"/>
                </a:cubicBezTo>
              </a:path>
              <a:path w="19317" h="21597" stroke="0" extrusionOk="0">
                <a:moveTo>
                  <a:pt x="361" y="0"/>
                </a:moveTo>
                <a:cubicBezTo>
                  <a:pt x="8409" y="134"/>
                  <a:pt x="15715" y="4733"/>
                  <a:pt x="19317" y="11931"/>
                </a:cubicBezTo>
                <a:lnTo>
                  <a:pt x="0" y="21597"/>
                </a:lnTo>
                <a:lnTo>
                  <a:pt x="361" y="0"/>
                </a:lnTo>
                <a:close/>
              </a:path>
            </a:pathLst>
          </a:custGeom>
          <a:noFill/>
          <a:ln w="31750">
            <a:solidFill>
              <a:srgbClr val="EEA632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88" name="Oval 211"/>
          <p:cNvSpPr>
            <a:spLocks noChangeArrowheads="1"/>
          </p:cNvSpPr>
          <p:nvPr/>
        </p:nvSpPr>
        <p:spPr bwMode="gray">
          <a:xfrm>
            <a:off x="960438" y="3133725"/>
            <a:ext cx="514350" cy="54927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7920" tIns="38961" rIns="77920" bIns="38961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389" name="Oval 212"/>
          <p:cNvSpPr>
            <a:spLocks noChangeArrowheads="1"/>
          </p:cNvSpPr>
          <p:nvPr/>
        </p:nvSpPr>
        <p:spPr bwMode="gray">
          <a:xfrm>
            <a:off x="6329363" y="3138488"/>
            <a:ext cx="955675" cy="1060450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7920" tIns="38961" rIns="77920" bIns="38961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grpSp>
        <p:nvGrpSpPr>
          <p:cNvPr id="8390" name="Group 216"/>
          <p:cNvGrpSpPr>
            <a:grpSpLocks/>
          </p:cNvGrpSpPr>
          <p:nvPr/>
        </p:nvGrpSpPr>
        <p:grpSpPr bwMode="auto">
          <a:xfrm>
            <a:off x="1709738" y="2873375"/>
            <a:ext cx="415925" cy="371475"/>
            <a:chOff x="367" y="991"/>
            <a:chExt cx="248" cy="256"/>
          </a:xfrm>
        </p:grpSpPr>
        <p:sp>
          <p:nvSpPr>
            <p:cNvPr id="8462" name="Arc 303"/>
            <p:cNvSpPr>
              <a:spLocks/>
            </p:cNvSpPr>
            <p:nvPr/>
          </p:nvSpPr>
          <p:spPr bwMode="gray">
            <a:xfrm>
              <a:off x="491" y="991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3" name="Arc 304"/>
            <p:cNvSpPr>
              <a:spLocks/>
            </p:cNvSpPr>
            <p:nvPr/>
          </p:nvSpPr>
          <p:spPr bwMode="gray">
            <a:xfrm flipV="1">
              <a:off x="491" y="1119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4" name="Arc 305"/>
            <p:cNvSpPr>
              <a:spLocks/>
            </p:cNvSpPr>
            <p:nvPr/>
          </p:nvSpPr>
          <p:spPr bwMode="gray">
            <a:xfrm flipH="1" flipV="1">
              <a:off x="367" y="1119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8391" name="Text Box 220"/>
          <p:cNvSpPr txBox="1">
            <a:spLocks noChangeArrowheads="1"/>
          </p:cNvSpPr>
          <p:nvPr/>
        </p:nvSpPr>
        <p:spPr bwMode="auto">
          <a:xfrm>
            <a:off x="1358900" y="2805113"/>
            <a:ext cx="430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4.7%)</a:t>
            </a:r>
          </a:p>
        </p:txBody>
      </p:sp>
      <p:sp>
        <p:nvSpPr>
          <p:cNvPr id="8392" name="Oval 221"/>
          <p:cNvSpPr>
            <a:spLocks noChangeArrowheads="1"/>
          </p:cNvSpPr>
          <p:nvPr/>
        </p:nvSpPr>
        <p:spPr bwMode="gray">
          <a:xfrm>
            <a:off x="2759075" y="4557713"/>
            <a:ext cx="265113" cy="284162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 lIns="77920" tIns="38961" rIns="77920" bIns="38961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grpSp>
        <p:nvGrpSpPr>
          <p:cNvPr id="8393" name="Group 222"/>
          <p:cNvGrpSpPr>
            <a:grpSpLocks/>
          </p:cNvGrpSpPr>
          <p:nvPr/>
        </p:nvGrpSpPr>
        <p:grpSpPr bwMode="auto">
          <a:xfrm>
            <a:off x="2674938" y="4514850"/>
            <a:ext cx="415925" cy="371475"/>
            <a:chOff x="367" y="991"/>
            <a:chExt cx="248" cy="256"/>
          </a:xfrm>
        </p:grpSpPr>
        <p:sp>
          <p:nvSpPr>
            <p:cNvPr id="8459" name="Arc 303"/>
            <p:cNvSpPr>
              <a:spLocks/>
            </p:cNvSpPr>
            <p:nvPr/>
          </p:nvSpPr>
          <p:spPr bwMode="gray">
            <a:xfrm>
              <a:off x="491" y="991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0" name="Arc 304"/>
            <p:cNvSpPr>
              <a:spLocks/>
            </p:cNvSpPr>
            <p:nvPr/>
          </p:nvSpPr>
          <p:spPr bwMode="gray">
            <a:xfrm flipV="1">
              <a:off x="491" y="1119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61" name="Arc 305"/>
            <p:cNvSpPr>
              <a:spLocks/>
            </p:cNvSpPr>
            <p:nvPr/>
          </p:nvSpPr>
          <p:spPr bwMode="gray">
            <a:xfrm flipH="1" flipV="1">
              <a:off x="367" y="1119"/>
              <a:ext cx="12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1750">
              <a:solidFill>
                <a:srgbClr val="D2E0E6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wrap="none" tIns="91440" bIns="91440" anchor="ctr"/>
            <a:lstStyle/>
            <a:p>
              <a:endParaRPr lang="en-IE" smtClea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8394" name="Arc 301"/>
          <p:cNvSpPr>
            <a:spLocks/>
          </p:cNvSpPr>
          <p:nvPr/>
        </p:nvSpPr>
        <p:spPr bwMode="gray">
          <a:xfrm rot="-3071276">
            <a:off x="5572919" y="2793206"/>
            <a:ext cx="965200" cy="1658938"/>
          </a:xfrm>
          <a:custGeom>
            <a:avLst/>
            <a:gdLst>
              <a:gd name="T0" fmla="*/ 2147483647 w 19925"/>
              <a:gd name="T1" fmla="*/ 0 h 21532"/>
              <a:gd name="T2" fmla="*/ 2147483647 w 19925"/>
              <a:gd name="T3" fmla="*/ 2147483647 h 21532"/>
              <a:gd name="T4" fmla="*/ 0 w 19925"/>
              <a:gd name="T5" fmla="*/ 2147483647 h 21532"/>
              <a:gd name="T6" fmla="*/ 0 60000 65536"/>
              <a:gd name="T7" fmla="*/ 0 60000 65536"/>
              <a:gd name="T8" fmla="*/ 0 60000 65536"/>
              <a:gd name="T9" fmla="*/ 0 w 19925"/>
              <a:gd name="T10" fmla="*/ 0 h 21532"/>
              <a:gd name="T11" fmla="*/ 19925 w 19925"/>
              <a:gd name="T12" fmla="*/ 21532 h 215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25" h="21532" fill="none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</a:path>
              <a:path w="19925" h="21532" stroke="0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  <a:lnTo>
                  <a:pt x="0" y="21532"/>
                </a:lnTo>
                <a:lnTo>
                  <a:pt x="1713" y="0"/>
                </a:lnTo>
                <a:close/>
              </a:path>
            </a:pathLst>
          </a:custGeom>
          <a:noFill/>
          <a:ln w="31750" algn="ctr">
            <a:solidFill>
              <a:srgbClr val="FF0000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395" name="Oval 336"/>
          <p:cNvSpPr>
            <a:spLocks noChangeArrowheads="1"/>
          </p:cNvSpPr>
          <p:nvPr/>
        </p:nvSpPr>
        <p:spPr bwMode="gray">
          <a:xfrm>
            <a:off x="4881563" y="4722813"/>
            <a:ext cx="387350" cy="412750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396" name="Rectangle 337"/>
          <p:cNvSpPr>
            <a:spLocks noChangeArrowheads="1"/>
          </p:cNvSpPr>
          <p:nvPr/>
        </p:nvSpPr>
        <p:spPr bwMode="gray">
          <a:xfrm>
            <a:off x="4965700" y="4827588"/>
            <a:ext cx="187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5.2</a:t>
            </a:r>
          </a:p>
        </p:txBody>
      </p:sp>
      <p:sp>
        <p:nvSpPr>
          <p:cNvPr id="8397" name="Rectangle 318"/>
          <p:cNvSpPr>
            <a:spLocks noChangeArrowheads="1"/>
          </p:cNvSpPr>
          <p:nvPr/>
        </p:nvSpPr>
        <p:spPr bwMode="gray">
          <a:xfrm>
            <a:off x="1120775" y="3308350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0</a:t>
            </a:r>
          </a:p>
        </p:txBody>
      </p:sp>
      <p:sp>
        <p:nvSpPr>
          <p:cNvPr id="8398" name="Oval 238"/>
          <p:cNvSpPr>
            <a:spLocks noChangeArrowheads="1"/>
          </p:cNvSpPr>
          <p:nvPr/>
        </p:nvSpPr>
        <p:spPr bwMode="gray">
          <a:xfrm>
            <a:off x="4110038" y="2755900"/>
            <a:ext cx="515937" cy="547688"/>
          </a:xfrm>
          <a:prstGeom prst="ellipse">
            <a:avLst/>
          </a:prstGeom>
          <a:solidFill>
            <a:srgbClr val="EEA632"/>
          </a:solidFill>
          <a:ln w="9525" algn="ctr">
            <a:solidFill>
              <a:srgbClr val="EEA632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399" name="Rectangle 327"/>
          <p:cNvSpPr>
            <a:spLocks noChangeArrowheads="1"/>
          </p:cNvSpPr>
          <p:nvPr/>
        </p:nvSpPr>
        <p:spPr bwMode="gray">
          <a:xfrm>
            <a:off x="4275138" y="2844800"/>
            <a:ext cx="1571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0</a:t>
            </a:r>
          </a:p>
        </p:txBody>
      </p:sp>
      <p:sp>
        <p:nvSpPr>
          <p:cNvPr id="8400" name="Oval 241"/>
          <p:cNvSpPr>
            <a:spLocks noChangeArrowheads="1"/>
          </p:cNvSpPr>
          <p:nvPr/>
        </p:nvSpPr>
        <p:spPr bwMode="gray">
          <a:xfrm>
            <a:off x="3940175" y="3935413"/>
            <a:ext cx="266700" cy="285750"/>
          </a:xfrm>
          <a:prstGeom prst="ellipse">
            <a:avLst/>
          </a:prstGeom>
          <a:solidFill>
            <a:srgbClr val="EEA632"/>
          </a:solidFill>
          <a:ln w="9525" algn="ctr">
            <a:solidFill>
              <a:srgbClr val="EEA632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01" name="Rectangle 325"/>
          <p:cNvSpPr>
            <a:spLocks noChangeArrowheads="1"/>
          </p:cNvSpPr>
          <p:nvPr/>
        </p:nvSpPr>
        <p:spPr bwMode="gray">
          <a:xfrm>
            <a:off x="3984625" y="3973513"/>
            <a:ext cx="1968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.9</a:t>
            </a:r>
          </a:p>
        </p:txBody>
      </p:sp>
      <p:sp>
        <p:nvSpPr>
          <p:cNvPr id="8402" name="Oval 250"/>
          <p:cNvSpPr>
            <a:spLocks noChangeArrowheads="1"/>
          </p:cNvSpPr>
          <p:nvPr/>
        </p:nvSpPr>
        <p:spPr bwMode="gray">
          <a:xfrm>
            <a:off x="7656513" y="4079875"/>
            <a:ext cx="231775" cy="246063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03" name="Rectangle 334"/>
          <p:cNvSpPr>
            <a:spLocks noChangeArrowheads="1"/>
          </p:cNvSpPr>
          <p:nvPr/>
        </p:nvSpPr>
        <p:spPr bwMode="gray">
          <a:xfrm>
            <a:off x="7670800" y="4100513"/>
            <a:ext cx="187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.7</a:t>
            </a:r>
          </a:p>
        </p:txBody>
      </p:sp>
      <p:sp>
        <p:nvSpPr>
          <p:cNvPr id="8404" name="Oval 257"/>
          <p:cNvSpPr>
            <a:spLocks noChangeArrowheads="1"/>
          </p:cNvSpPr>
          <p:nvPr/>
        </p:nvSpPr>
        <p:spPr bwMode="gray">
          <a:xfrm>
            <a:off x="1801813" y="2957513"/>
            <a:ext cx="228600" cy="196850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05" name="Rectangle 320"/>
          <p:cNvSpPr>
            <a:spLocks noChangeArrowheads="1"/>
          </p:cNvSpPr>
          <p:nvPr/>
        </p:nvSpPr>
        <p:spPr bwMode="gray">
          <a:xfrm>
            <a:off x="1827213" y="2960688"/>
            <a:ext cx="1952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0.7</a:t>
            </a:r>
          </a:p>
        </p:txBody>
      </p:sp>
      <p:sp>
        <p:nvSpPr>
          <p:cNvPr id="8406" name="Arc 301"/>
          <p:cNvSpPr>
            <a:spLocks/>
          </p:cNvSpPr>
          <p:nvPr/>
        </p:nvSpPr>
        <p:spPr bwMode="gray">
          <a:xfrm rot="-2624365">
            <a:off x="2154238" y="2701925"/>
            <a:ext cx="1965325" cy="1455738"/>
          </a:xfrm>
          <a:custGeom>
            <a:avLst/>
            <a:gdLst>
              <a:gd name="T0" fmla="*/ 2147483647 w 19925"/>
              <a:gd name="T1" fmla="*/ 0 h 21532"/>
              <a:gd name="T2" fmla="*/ 2147483647 w 19925"/>
              <a:gd name="T3" fmla="*/ 2147483647 h 21532"/>
              <a:gd name="T4" fmla="*/ 0 w 19925"/>
              <a:gd name="T5" fmla="*/ 2147483647 h 21532"/>
              <a:gd name="T6" fmla="*/ 0 60000 65536"/>
              <a:gd name="T7" fmla="*/ 0 60000 65536"/>
              <a:gd name="T8" fmla="*/ 0 60000 65536"/>
              <a:gd name="T9" fmla="*/ 0 w 19925"/>
              <a:gd name="T10" fmla="*/ 0 h 21532"/>
              <a:gd name="T11" fmla="*/ 19925 w 19925"/>
              <a:gd name="T12" fmla="*/ 21532 h 215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25" h="21532" fill="none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</a:path>
              <a:path w="19925" h="21532" stroke="0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  <a:lnTo>
                  <a:pt x="0" y="21532"/>
                </a:lnTo>
                <a:lnTo>
                  <a:pt x="1713" y="0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07" name="Arc 301"/>
          <p:cNvSpPr>
            <a:spLocks/>
          </p:cNvSpPr>
          <p:nvPr/>
        </p:nvSpPr>
        <p:spPr bwMode="gray">
          <a:xfrm rot="-2624365">
            <a:off x="2224088" y="2916238"/>
            <a:ext cx="1965325" cy="1455737"/>
          </a:xfrm>
          <a:custGeom>
            <a:avLst/>
            <a:gdLst>
              <a:gd name="T0" fmla="*/ 2147483647 w 19925"/>
              <a:gd name="T1" fmla="*/ 0 h 21532"/>
              <a:gd name="T2" fmla="*/ 2147483647 w 19925"/>
              <a:gd name="T3" fmla="*/ 2147483647 h 21532"/>
              <a:gd name="T4" fmla="*/ 0 w 19925"/>
              <a:gd name="T5" fmla="*/ 2147483647 h 21532"/>
              <a:gd name="T6" fmla="*/ 0 60000 65536"/>
              <a:gd name="T7" fmla="*/ 0 60000 65536"/>
              <a:gd name="T8" fmla="*/ 0 60000 65536"/>
              <a:gd name="T9" fmla="*/ 0 w 19925"/>
              <a:gd name="T10" fmla="*/ 0 h 21532"/>
              <a:gd name="T11" fmla="*/ 19925 w 19925"/>
              <a:gd name="T12" fmla="*/ 21532 h 215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25" h="21532" fill="none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</a:path>
              <a:path w="19925" h="21532" stroke="0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  <a:lnTo>
                  <a:pt x="0" y="21532"/>
                </a:lnTo>
                <a:lnTo>
                  <a:pt x="1713" y="0"/>
                </a:lnTo>
                <a:close/>
              </a:path>
            </a:pathLst>
          </a:custGeom>
          <a:noFill/>
          <a:ln w="31750">
            <a:solidFill>
              <a:srgbClr val="EEA632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grpSp>
        <p:nvGrpSpPr>
          <p:cNvPr id="8408" name="Group 269"/>
          <p:cNvGrpSpPr>
            <a:grpSpLocks/>
          </p:cNvGrpSpPr>
          <p:nvPr/>
        </p:nvGrpSpPr>
        <p:grpSpPr bwMode="auto">
          <a:xfrm>
            <a:off x="3146425" y="2767013"/>
            <a:ext cx="239713" cy="252412"/>
            <a:chOff x="2054" y="1713"/>
            <a:chExt cx="227" cy="227"/>
          </a:xfrm>
        </p:grpSpPr>
        <p:sp>
          <p:nvSpPr>
            <p:cNvPr id="8457" name="Oval 27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54" y="1713"/>
              <a:ext cx="227" cy="227"/>
            </a:xfrm>
            <a:prstGeom prst="ellipse">
              <a:avLst/>
            </a:prstGeom>
            <a:solidFill>
              <a:srgbClr val="D2E0E6"/>
            </a:solidFill>
            <a:ln w="9525" algn="ctr">
              <a:solidFill>
                <a:srgbClr val="D2E0E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70000"/>
                <a:buFont typeface="Wingdings" pitchFamily="2" charset="2"/>
                <a:buChar char="l"/>
                <a:defRPr sz="31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SzPct val="150000"/>
                <a:buChar char="•"/>
                <a:defRPr sz="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SzPct val="150000"/>
                <a:buChar char="•"/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2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endParaRPr>
            </a:p>
          </p:txBody>
        </p:sp>
        <p:sp>
          <p:nvSpPr>
            <p:cNvPr id="8458" name="Rectangle 32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74" y="1734"/>
              <a:ext cx="172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70000"/>
                <a:buFont typeface="Wingdings" pitchFamily="2" charset="2"/>
                <a:buChar char="l"/>
                <a:defRPr sz="31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SzPct val="150000"/>
                <a:buChar char="•"/>
                <a:defRPr sz="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SzPct val="150000"/>
                <a:buChar char="•"/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2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zh-HK" sz="1200" smtClean="0">
                  <a:solidFill>
                    <a:srgbClr val="000000"/>
                  </a:solidFill>
                  <a:latin typeface="Constantia" pitchFamily="18" charset="0"/>
                  <a:ea typeface="PMingLiU" pitchFamily="18" charset="-120"/>
                  <a:cs typeface="+mn-cs"/>
                </a:rPr>
                <a:t>3.7</a:t>
              </a:r>
            </a:p>
          </p:txBody>
        </p:sp>
      </p:grpSp>
      <p:sp>
        <p:nvSpPr>
          <p:cNvPr id="8409" name="Oval 273"/>
          <p:cNvSpPr>
            <a:spLocks noChangeArrowheads="1"/>
          </p:cNvSpPr>
          <p:nvPr/>
        </p:nvSpPr>
        <p:spPr bwMode="gray">
          <a:xfrm>
            <a:off x="2782888" y="3036888"/>
            <a:ext cx="327025" cy="282575"/>
          </a:xfrm>
          <a:prstGeom prst="ellipse">
            <a:avLst/>
          </a:prstGeom>
          <a:solidFill>
            <a:srgbClr val="EEA632"/>
          </a:solidFill>
          <a:ln w="9525" algn="ctr">
            <a:solidFill>
              <a:srgbClr val="EEA632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10" name="Rectangle 320"/>
          <p:cNvSpPr>
            <a:spLocks noChangeArrowheads="1"/>
          </p:cNvSpPr>
          <p:nvPr/>
        </p:nvSpPr>
        <p:spPr bwMode="gray">
          <a:xfrm>
            <a:off x="2840038" y="3106738"/>
            <a:ext cx="187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5.2</a:t>
            </a:r>
          </a:p>
        </p:txBody>
      </p:sp>
      <p:sp>
        <p:nvSpPr>
          <p:cNvPr id="8411" name="Text Box 275"/>
          <p:cNvSpPr txBox="1">
            <a:spLocks noChangeArrowheads="1"/>
          </p:cNvSpPr>
          <p:nvPr/>
        </p:nvSpPr>
        <p:spPr bwMode="auto">
          <a:xfrm>
            <a:off x="3375025" y="2584450"/>
            <a:ext cx="492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3.5%)</a:t>
            </a:r>
          </a:p>
        </p:txBody>
      </p:sp>
      <p:sp>
        <p:nvSpPr>
          <p:cNvPr id="8412" name="Text Box 276"/>
          <p:cNvSpPr txBox="1">
            <a:spLocks noChangeArrowheads="1"/>
          </p:cNvSpPr>
          <p:nvPr/>
        </p:nvSpPr>
        <p:spPr bwMode="auto">
          <a:xfrm>
            <a:off x="3082925" y="3190875"/>
            <a:ext cx="427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4.3%)</a:t>
            </a:r>
          </a:p>
        </p:txBody>
      </p:sp>
      <p:sp>
        <p:nvSpPr>
          <p:cNvPr id="8413" name="Arc 306"/>
          <p:cNvSpPr>
            <a:spLocks/>
          </p:cNvSpPr>
          <p:nvPr/>
        </p:nvSpPr>
        <p:spPr bwMode="gray">
          <a:xfrm rot="-3314465">
            <a:off x="7600157" y="2483644"/>
            <a:ext cx="668337" cy="1298575"/>
          </a:xfrm>
          <a:custGeom>
            <a:avLst/>
            <a:gdLst>
              <a:gd name="T0" fmla="*/ 0 w 22717"/>
              <a:gd name="T1" fmla="*/ 2147483647 h 21600"/>
              <a:gd name="T2" fmla="*/ 2147483647 w 22717"/>
              <a:gd name="T3" fmla="*/ 2147483647 h 21600"/>
              <a:gd name="T4" fmla="*/ 2147483647 w 22717"/>
              <a:gd name="T5" fmla="*/ 2147483647 h 21600"/>
              <a:gd name="T6" fmla="*/ 0 60000 65536"/>
              <a:gd name="T7" fmla="*/ 0 60000 65536"/>
              <a:gd name="T8" fmla="*/ 0 60000 65536"/>
              <a:gd name="T9" fmla="*/ 0 w 22717"/>
              <a:gd name="T10" fmla="*/ 0 h 21600"/>
              <a:gd name="T11" fmla="*/ 22717 w 2271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717" h="21600" fill="none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</a:path>
              <a:path w="22717" h="21600" stroke="0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  <a:lnTo>
                  <a:pt x="1228" y="21600"/>
                </a:lnTo>
                <a:lnTo>
                  <a:pt x="-1" y="34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14" name="Arc 309"/>
          <p:cNvSpPr>
            <a:spLocks/>
          </p:cNvSpPr>
          <p:nvPr/>
        </p:nvSpPr>
        <p:spPr bwMode="gray">
          <a:xfrm rot="3486017" flipH="1">
            <a:off x="8289925" y="3189288"/>
            <a:ext cx="385763" cy="617537"/>
          </a:xfrm>
          <a:custGeom>
            <a:avLst/>
            <a:gdLst>
              <a:gd name="T0" fmla="*/ 2147483647 w 10436"/>
              <a:gd name="T1" fmla="*/ 0 h 21374"/>
              <a:gd name="T2" fmla="*/ 2147483647 w 10436"/>
              <a:gd name="T3" fmla="*/ 2147483647 h 21374"/>
              <a:gd name="T4" fmla="*/ 0 w 10436"/>
              <a:gd name="T5" fmla="*/ 2147483647 h 21374"/>
              <a:gd name="T6" fmla="*/ 0 60000 65536"/>
              <a:gd name="T7" fmla="*/ 0 60000 65536"/>
              <a:gd name="T8" fmla="*/ 0 60000 65536"/>
              <a:gd name="T9" fmla="*/ 0 w 10436"/>
              <a:gd name="T10" fmla="*/ 0 h 21374"/>
              <a:gd name="T11" fmla="*/ 10436 w 10436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436" h="21374" fill="none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</a:path>
              <a:path w="10436" h="21374" stroke="0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4290">
            <a:solidFill>
              <a:srgbClr val="D2E0E6"/>
            </a:solidFill>
            <a:prstDash val="sysDot"/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15" name="Text Box 235"/>
          <p:cNvSpPr txBox="1">
            <a:spLocks noChangeArrowheads="1"/>
          </p:cNvSpPr>
          <p:nvPr/>
        </p:nvSpPr>
        <p:spPr bwMode="auto">
          <a:xfrm>
            <a:off x="8188325" y="2725738"/>
            <a:ext cx="4318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6.7%)</a:t>
            </a:r>
          </a:p>
        </p:txBody>
      </p:sp>
      <p:grpSp>
        <p:nvGrpSpPr>
          <p:cNvPr id="8416" name="Group 237"/>
          <p:cNvGrpSpPr>
            <a:grpSpLocks/>
          </p:cNvGrpSpPr>
          <p:nvPr/>
        </p:nvGrpSpPr>
        <p:grpSpPr bwMode="auto">
          <a:xfrm>
            <a:off x="7645400" y="2581275"/>
            <a:ext cx="447675" cy="476250"/>
            <a:chOff x="5007" y="1893"/>
            <a:chExt cx="215" cy="215"/>
          </a:xfrm>
        </p:grpSpPr>
        <p:sp>
          <p:nvSpPr>
            <p:cNvPr id="8455" name="Oval 2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007" y="1893"/>
              <a:ext cx="215" cy="215"/>
            </a:xfrm>
            <a:prstGeom prst="ellipse">
              <a:avLst/>
            </a:prstGeom>
            <a:solidFill>
              <a:srgbClr val="D2E0E6"/>
            </a:solidFill>
            <a:ln w="9525" algn="ctr">
              <a:solidFill>
                <a:srgbClr val="D2E0E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70000"/>
                <a:buFont typeface="Wingdings" pitchFamily="2" charset="2"/>
                <a:buChar char="l"/>
                <a:defRPr sz="31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SzPct val="150000"/>
                <a:buChar char="•"/>
                <a:defRPr sz="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SzPct val="150000"/>
                <a:buChar char="•"/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2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endParaRPr>
            </a:p>
          </p:txBody>
        </p:sp>
        <p:sp>
          <p:nvSpPr>
            <p:cNvPr id="8456" name="Rectangle 31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076" y="1963"/>
              <a:ext cx="63" cy="86"/>
            </a:xfrm>
            <a:prstGeom prst="rect">
              <a:avLst/>
            </a:prstGeom>
            <a:solidFill>
              <a:srgbClr val="D2E0E6"/>
            </a:solidFill>
            <a:ln w="9525">
              <a:solidFill>
                <a:srgbClr val="D2E0E6"/>
              </a:solidFill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70000"/>
                <a:buFont typeface="Wingdings" pitchFamily="2" charset="2"/>
                <a:buChar char="l"/>
                <a:defRPr sz="31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SzPct val="150000"/>
                <a:buChar char="•"/>
                <a:defRPr sz="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SzPct val="150000"/>
                <a:buChar char="•"/>
                <a:defRPr sz="2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2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15000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zh-HK" sz="1200" smtClean="0">
                  <a:solidFill>
                    <a:srgbClr val="FFFFFF"/>
                  </a:solidFill>
                  <a:latin typeface="Constantia" pitchFamily="18" charset="0"/>
                  <a:ea typeface="PMingLiU" pitchFamily="18" charset="-120"/>
                  <a:cs typeface="+mn-cs"/>
                </a:rPr>
                <a:t>15</a:t>
              </a:r>
            </a:p>
          </p:txBody>
        </p:sp>
      </p:grpSp>
      <p:sp>
        <p:nvSpPr>
          <p:cNvPr id="8417" name="Arc 311"/>
          <p:cNvSpPr>
            <a:spLocks/>
          </p:cNvSpPr>
          <p:nvPr/>
        </p:nvSpPr>
        <p:spPr bwMode="gray">
          <a:xfrm rot="10800000" flipH="1">
            <a:off x="2881313" y="3067050"/>
            <a:ext cx="1158875" cy="1428750"/>
          </a:xfrm>
          <a:custGeom>
            <a:avLst/>
            <a:gdLst>
              <a:gd name="T0" fmla="*/ 2147483647 w 21446"/>
              <a:gd name="T1" fmla="*/ 0 h 21599"/>
              <a:gd name="T2" fmla="*/ 2147483647 w 21446"/>
              <a:gd name="T3" fmla="*/ 2147483647 h 21599"/>
              <a:gd name="T4" fmla="*/ 0 w 21446"/>
              <a:gd name="T5" fmla="*/ 2147483647 h 21599"/>
              <a:gd name="T6" fmla="*/ 0 60000 65536"/>
              <a:gd name="T7" fmla="*/ 0 60000 65536"/>
              <a:gd name="T8" fmla="*/ 0 60000 65536"/>
              <a:gd name="T9" fmla="*/ 0 w 21446"/>
              <a:gd name="T10" fmla="*/ 0 h 21599"/>
              <a:gd name="T11" fmla="*/ 21446 w 21446"/>
              <a:gd name="T12" fmla="*/ 21599 h 21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46" h="21599" fill="none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</a:path>
              <a:path w="21446" h="21599" stroke="0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  <a:lnTo>
                  <a:pt x="0" y="21599"/>
                </a:lnTo>
                <a:lnTo>
                  <a:pt x="178" y="-1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18" name="Text Box 183"/>
          <p:cNvSpPr txBox="1">
            <a:spLocks noChangeArrowheads="1"/>
          </p:cNvSpPr>
          <p:nvPr/>
        </p:nvSpPr>
        <p:spPr bwMode="auto">
          <a:xfrm>
            <a:off x="3346450" y="3748088"/>
            <a:ext cx="4191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3.7%)</a:t>
            </a:r>
          </a:p>
        </p:txBody>
      </p:sp>
      <p:sp>
        <p:nvSpPr>
          <p:cNvPr id="8419" name="Oval 189"/>
          <p:cNvSpPr>
            <a:spLocks noChangeArrowheads="1"/>
          </p:cNvSpPr>
          <p:nvPr/>
        </p:nvSpPr>
        <p:spPr bwMode="gray">
          <a:xfrm>
            <a:off x="3549650" y="3962400"/>
            <a:ext cx="266700" cy="285750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20" name="Rectangle 325"/>
          <p:cNvSpPr>
            <a:spLocks noChangeArrowheads="1"/>
          </p:cNvSpPr>
          <p:nvPr/>
        </p:nvSpPr>
        <p:spPr bwMode="gray">
          <a:xfrm>
            <a:off x="3598863" y="4000500"/>
            <a:ext cx="1968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2.9</a:t>
            </a:r>
          </a:p>
        </p:txBody>
      </p:sp>
      <p:sp>
        <p:nvSpPr>
          <p:cNvPr id="8421" name="Arc 301"/>
          <p:cNvSpPr>
            <a:spLocks/>
          </p:cNvSpPr>
          <p:nvPr/>
        </p:nvSpPr>
        <p:spPr bwMode="gray">
          <a:xfrm rot="-2746699">
            <a:off x="5444331" y="2720182"/>
            <a:ext cx="979487" cy="1435100"/>
          </a:xfrm>
          <a:custGeom>
            <a:avLst/>
            <a:gdLst>
              <a:gd name="T0" fmla="*/ 2147483647 w 19925"/>
              <a:gd name="T1" fmla="*/ 0 h 21532"/>
              <a:gd name="T2" fmla="*/ 2147483647 w 19925"/>
              <a:gd name="T3" fmla="*/ 2147483647 h 21532"/>
              <a:gd name="T4" fmla="*/ 0 w 19925"/>
              <a:gd name="T5" fmla="*/ 2147483647 h 21532"/>
              <a:gd name="T6" fmla="*/ 0 60000 65536"/>
              <a:gd name="T7" fmla="*/ 0 60000 65536"/>
              <a:gd name="T8" fmla="*/ 0 60000 65536"/>
              <a:gd name="T9" fmla="*/ 0 w 19925"/>
              <a:gd name="T10" fmla="*/ 0 h 21532"/>
              <a:gd name="T11" fmla="*/ 19925 w 19925"/>
              <a:gd name="T12" fmla="*/ 21532 h 215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25" h="21532" fill="none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</a:path>
              <a:path w="19925" h="21532" stroke="0" extrusionOk="0">
                <a:moveTo>
                  <a:pt x="1713" y="0"/>
                </a:moveTo>
                <a:cubicBezTo>
                  <a:pt x="9774" y="641"/>
                  <a:pt x="16802" y="5732"/>
                  <a:pt x="19924" y="13191"/>
                </a:cubicBezTo>
                <a:lnTo>
                  <a:pt x="0" y="21532"/>
                </a:lnTo>
                <a:lnTo>
                  <a:pt x="1713" y="0"/>
                </a:lnTo>
                <a:close/>
              </a:path>
            </a:pathLst>
          </a:custGeom>
          <a:noFill/>
          <a:ln w="31750" algn="ctr">
            <a:solidFill>
              <a:srgbClr val="D2E0E6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22" name="Text Box 200"/>
          <p:cNvSpPr txBox="1">
            <a:spLocks noChangeArrowheads="1"/>
          </p:cNvSpPr>
          <p:nvPr/>
        </p:nvSpPr>
        <p:spPr bwMode="auto">
          <a:xfrm>
            <a:off x="5127625" y="2697163"/>
            <a:ext cx="441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8.0%)</a:t>
            </a:r>
          </a:p>
        </p:txBody>
      </p:sp>
      <p:sp>
        <p:nvSpPr>
          <p:cNvPr id="8423" name="Oval 210"/>
          <p:cNvSpPr>
            <a:spLocks noChangeArrowheads="1"/>
          </p:cNvSpPr>
          <p:nvPr/>
        </p:nvSpPr>
        <p:spPr bwMode="gray">
          <a:xfrm>
            <a:off x="5383213" y="2898775"/>
            <a:ext cx="261937" cy="279400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 lIns="77920" tIns="38961" rIns="77920" bIns="38961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24" name="Rectangle 329"/>
          <p:cNvSpPr>
            <a:spLocks noChangeArrowheads="1"/>
          </p:cNvSpPr>
          <p:nvPr/>
        </p:nvSpPr>
        <p:spPr bwMode="gray">
          <a:xfrm>
            <a:off x="5400675" y="2922588"/>
            <a:ext cx="1968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.6</a:t>
            </a:r>
          </a:p>
        </p:txBody>
      </p:sp>
      <p:sp>
        <p:nvSpPr>
          <p:cNvPr id="8425" name="Rectangle 316"/>
          <p:cNvSpPr>
            <a:spLocks noChangeArrowheads="1"/>
          </p:cNvSpPr>
          <p:nvPr/>
        </p:nvSpPr>
        <p:spPr bwMode="gray">
          <a:xfrm>
            <a:off x="6686550" y="3460750"/>
            <a:ext cx="2413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64</a:t>
            </a:r>
          </a:p>
        </p:txBody>
      </p:sp>
      <p:sp>
        <p:nvSpPr>
          <p:cNvPr id="8426" name="Text Box 197"/>
          <p:cNvSpPr txBox="1">
            <a:spLocks noChangeArrowheads="1"/>
          </p:cNvSpPr>
          <p:nvPr/>
        </p:nvSpPr>
        <p:spPr bwMode="auto">
          <a:xfrm>
            <a:off x="6586538" y="3640138"/>
            <a:ext cx="441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6.8%)</a:t>
            </a:r>
            <a:endParaRPr lang="en-US" altLang="en-US" sz="1200" baseline="300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27" name="Text Box 226"/>
          <p:cNvSpPr txBox="1">
            <a:spLocks noChangeArrowheads="1"/>
          </p:cNvSpPr>
          <p:nvPr/>
        </p:nvSpPr>
        <p:spPr bwMode="auto">
          <a:xfrm>
            <a:off x="2216150" y="4689475"/>
            <a:ext cx="396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7.1%)</a:t>
            </a:r>
          </a:p>
        </p:txBody>
      </p:sp>
      <p:sp>
        <p:nvSpPr>
          <p:cNvPr id="8428" name="Rectangle 320"/>
          <p:cNvSpPr>
            <a:spLocks noChangeArrowheads="1"/>
          </p:cNvSpPr>
          <p:nvPr/>
        </p:nvSpPr>
        <p:spPr bwMode="gray">
          <a:xfrm>
            <a:off x="2782888" y="4605338"/>
            <a:ext cx="1968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2.9</a:t>
            </a:r>
          </a:p>
        </p:txBody>
      </p:sp>
      <p:sp>
        <p:nvSpPr>
          <p:cNvPr id="8429" name="Arc 311"/>
          <p:cNvSpPr>
            <a:spLocks/>
          </p:cNvSpPr>
          <p:nvPr/>
        </p:nvSpPr>
        <p:spPr bwMode="gray">
          <a:xfrm rot="8421969" flipH="1">
            <a:off x="2325688" y="3333750"/>
            <a:ext cx="417512" cy="1114425"/>
          </a:xfrm>
          <a:custGeom>
            <a:avLst/>
            <a:gdLst>
              <a:gd name="T0" fmla="*/ 2147483647 w 21446"/>
              <a:gd name="T1" fmla="*/ 0 h 21599"/>
              <a:gd name="T2" fmla="*/ 2147483647 w 21446"/>
              <a:gd name="T3" fmla="*/ 2147483647 h 21599"/>
              <a:gd name="T4" fmla="*/ 0 w 21446"/>
              <a:gd name="T5" fmla="*/ 2147483647 h 21599"/>
              <a:gd name="T6" fmla="*/ 0 60000 65536"/>
              <a:gd name="T7" fmla="*/ 0 60000 65536"/>
              <a:gd name="T8" fmla="*/ 0 60000 65536"/>
              <a:gd name="T9" fmla="*/ 0 w 21446"/>
              <a:gd name="T10" fmla="*/ 0 h 21599"/>
              <a:gd name="T11" fmla="*/ 21446 w 21446"/>
              <a:gd name="T12" fmla="*/ 21599 h 21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46" h="21599" fill="none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</a:path>
              <a:path w="21446" h="21599" stroke="0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  <a:lnTo>
                  <a:pt x="0" y="21599"/>
                </a:lnTo>
                <a:lnTo>
                  <a:pt x="178" y="-1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30" name="Arc 311"/>
          <p:cNvSpPr>
            <a:spLocks/>
          </p:cNvSpPr>
          <p:nvPr/>
        </p:nvSpPr>
        <p:spPr bwMode="gray">
          <a:xfrm rot="18747360" flipH="1">
            <a:off x="2128838" y="3402013"/>
            <a:ext cx="352425" cy="1317625"/>
          </a:xfrm>
          <a:custGeom>
            <a:avLst/>
            <a:gdLst>
              <a:gd name="T0" fmla="*/ 2147483647 w 21446"/>
              <a:gd name="T1" fmla="*/ 0 h 21599"/>
              <a:gd name="T2" fmla="*/ 2147483647 w 21446"/>
              <a:gd name="T3" fmla="*/ 2147483647 h 21599"/>
              <a:gd name="T4" fmla="*/ 0 w 21446"/>
              <a:gd name="T5" fmla="*/ 2147483647 h 21599"/>
              <a:gd name="T6" fmla="*/ 0 60000 65536"/>
              <a:gd name="T7" fmla="*/ 0 60000 65536"/>
              <a:gd name="T8" fmla="*/ 0 60000 65536"/>
              <a:gd name="T9" fmla="*/ 0 w 21446"/>
              <a:gd name="T10" fmla="*/ 0 h 21599"/>
              <a:gd name="T11" fmla="*/ 21446 w 21446"/>
              <a:gd name="T12" fmla="*/ 21599 h 21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46" h="21599" fill="none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</a:path>
              <a:path w="21446" h="21599" stroke="0" extrusionOk="0">
                <a:moveTo>
                  <a:pt x="178" y="-1"/>
                </a:moveTo>
                <a:cubicBezTo>
                  <a:pt x="11042" y="89"/>
                  <a:pt x="20149" y="8234"/>
                  <a:pt x="21445" y="19022"/>
                </a:cubicBezTo>
                <a:lnTo>
                  <a:pt x="0" y="21599"/>
                </a:lnTo>
                <a:lnTo>
                  <a:pt x="178" y="-1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31" name="Oval 241"/>
          <p:cNvSpPr>
            <a:spLocks noChangeArrowheads="1"/>
          </p:cNvSpPr>
          <p:nvPr/>
        </p:nvSpPr>
        <p:spPr bwMode="gray">
          <a:xfrm>
            <a:off x="2554288" y="3765550"/>
            <a:ext cx="292100" cy="309563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 lIns="71558" tIns="35780" rIns="71558" bIns="35780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32" name="Rectangle 325"/>
          <p:cNvSpPr>
            <a:spLocks noChangeArrowheads="1"/>
          </p:cNvSpPr>
          <p:nvPr/>
        </p:nvSpPr>
        <p:spPr bwMode="gray">
          <a:xfrm>
            <a:off x="2589213" y="3819525"/>
            <a:ext cx="20161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4.4</a:t>
            </a:r>
          </a:p>
        </p:txBody>
      </p:sp>
      <p:sp>
        <p:nvSpPr>
          <p:cNvPr id="8433" name="Oval 189"/>
          <p:cNvSpPr>
            <a:spLocks noChangeArrowheads="1"/>
          </p:cNvSpPr>
          <p:nvPr/>
        </p:nvSpPr>
        <p:spPr bwMode="gray">
          <a:xfrm>
            <a:off x="1947863" y="3921125"/>
            <a:ext cx="292100" cy="309563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 lIns="71558" tIns="35780" rIns="71558" bIns="35780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34" name="Rectangle 325"/>
          <p:cNvSpPr>
            <a:spLocks noChangeArrowheads="1"/>
          </p:cNvSpPr>
          <p:nvPr/>
        </p:nvSpPr>
        <p:spPr bwMode="gray">
          <a:xfrm>
            <a:off x="1982788" y="3975100"/>
            <a:ext cx="193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4.5</a:t>
            </a:r>
          </a:p>
        </p:txBody>
      </p:sp>
      <p:sp>
        <p:nvSpPr>
          <p:cNvPr id="8435" name="Text Box 226"/>
          <p:cNvSpPr txBox="1">
            <a:spLocks noChangeArrowheads="1"/>
          </p:cNvSpPr>
          <p:nvPr/>
        </p:nvSpPr>
        <p:spPr bwMode="auto">
          <a:xfrm>
            <a:off x="1497013" y="4037013"/>
            <a:ext cx="4413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6.8%)</a:t>
            </a:r>
          </a:p>
        </p:txBody>
      </p:sp>
      <p:sp>
        <p:nvSpPr>
          <p:cNvPr id="8436" name="Text Box 226"/>
          <p:cNvSpPr txBox="1">
            <a:spLocks noChangeArrowheads="1"/>
          </p:cNvSpPr>
          <p:nvPr/>
        </p:nvSpPr>
        <p:spPr bwMode="auto">
          <a:xfrm>
            <a:off x="2798763" y="3605213"/>
            <a:ext cx="43973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4.6%)</a:t>
            </a:r>
          </a:p>
        </p:txBody>
      </p:sp>
      <p:sp>
        <p:nvSpPr>
          <p:cNvPr id="8437" name="Arc 306"/>
          <p:cNvSpPr>
            <a:spLocks/>
          </p:cNvSpPr>
          <p:nvPr/>
        </p:nvSpPr>
        <p:spPr bwMode="gray">
          <a:xfrm rot="-1849127">
            <a:off x="7539038" y="3357563"/>
            <a:ext cx="914400" cy="1044575"/>
          </a:xfrm>
          <a:custGeom>
            <a:avLst/>
            <a:gdLst>
              <a:gd name="T0" fmla="*/ 0 w 22717"/>
              <a:gd name="T1" fmla="*/ 2147483647 h 21600"/>
              <a:gd name="T2" fmla="*/ 2147483647 w 22717"/>
              <a:gd name="T3" fmla="*/ 2147483647 h 21600"/>
              <a:gd name="T4" fmla="*/ 2147483647 w 22717"/>
              <a:gd name="T5" fmla="*/ 2147483647 h 21600"/>
              <a:gd name="T6" fmla="*/ 0 60000 65536"/>
              <a:gd name="T7" fmla="*/ 0 60000 65536"/>
              <a:gd name="T8" fmla="*/ 0 60000 65536"/>
              <a:gd name="T9" fmla="*/ 0 w 22717"/>
              <a:gd name="T10" fmla="*/ 0 h 21600"/>
              <a:gd name="T11" fmla="*/ 22717 w 2271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717" h="21600" fill="none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</a:path>
              <a:path w="22717" h="21600" stroke="0" extrusionOk="0">
                <a:moveTo>
                  <a:pt x="-1" y="34"/>
                </a:moveTo>
                <a:cubicBezTo>
                  <a:pt x="408" y="11"/>
                  <a:pt x="818" y="-1"/>
                  <a:pt x="1228" y="0"/>
                </a:cubicBezTo>
                <a:cubicBezTo>
                  <a:pt x="12310" y="0"/>
                  <a:pt x="21594" y="8386"/>
                  <a:pt x="22716" y="19412"/>
                </a:cubicBezTo>
                <a:lnTo>
                  <a:pt x="1228" y="21600"/>
                </a:lnTo>
                <a:lnTo>
                  <a:pt x="-1" y="34"/>
                </a:lnTo>
                <a:close/>
              </a:path>
            </a:pathLst>
          </a:custGeom>
          <a:noFill/>
          <a:ln w="31750">
            <a:solidFill>
              <a:srgbClr val="D2E0E6"/>
            </a:solidFill>
            <a:round/>
            <a:headEnd type="stealth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38" name="Text Box 235"/>
          <p:cNvSpPr txBox="1">
            <a:spLocks noChangeArrowheads="1"/>
          </p:cNvSpPr>
          <p:nvPr/>
        </p:nvSpPr>
        <p:spPr bwMode="auto">
          <a:xfrm>
            <a:off x="7859713" y="3705225"/>
            <a:ext cx="441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(8.8%)</a:t>
            </a:r>
          </a:p>
        </p:txBody>
      </p:sp>
      <p:sp>
        <p:nvSpPr>
          <p:cNvPr id="8439" name="Oval 238"/>
          <p:cNvSpPr>
            <a:spLocks noChangeArrowheads="1"/>
          </p:cNvSpPr>
          <p:nvPr/>
        </p:nvSpPr>
        <p:spPr bwMode="gray">
          <a:xfrm flipH="1">
            <a:off x="7810500" y="3389313"/>
            <a:ext cx="276225" cy="287337"/>
          </a:xfrm>
          <a:prstGeom prst="ellipse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40" name="Rectangle 318"/>
          <p:cNvSpPr>
            <a:spLocks noChangeArrowheads="1"/>
          </p:cNvSpPr>
          <p:nvPr/>
        </p:nvSpPr>
        <p:spPr bwMode="gray">
          <a:xfrm flipH="1">
            <a:off x="7837488" y="3459163"/>
            <a:ext cx="2825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.5</a:t>
            </a:r>
          </a:p>
        </p:txBody>
      </p:sp>
      <p:sp>
        <p:nvSpPr>
          <p:cNvPr id="8441" name="Arc 309"/>
          <p:cNvSpPr>
            <a:spLocks/>
          </p:cNvSpPr>
          <p:nvPr/>
        </p:nvSpPr>
        <p:spPr bwMode="gray">
          <a:xfrm rot="3839315" flipH="1">
            <a:off x="8243094" y="4037806"/>
            <a:ext cx="488950" cy="617538"/>
          </a:xfrm>
          <a:custGeom>
            <a:avLst/>
            <a:gdLst>
              <a:gd name="T0" fmla="*/ 2147483647 w 10436"/>
              <a:gd name="T1" fmla="*/ 0 h 21374"/>
              <a:gd name="T2" fmla="*/ 2147483647 w 10436"/>
              <a:gd name="T3" fmla="*/ 2147483647 h 21374"/>
              <a:gd name="T4" fmla="*/ 0 w 10436"/>
              <a:gd name="T5" fmla="*/ 2147483647 h 21374"/>
              <a:gd name="T6" fmla="*/ 0 60000 65536"/>
              <a:gd name="T7" fmla="*/ 0 60000 65536"/>
              <a:gd name="T8" fmla="*/ 0 60000 65536"/>
              <a:gd name="T9" fmla="*/ 0 w 10436"/>
              <a:gd name="T10" fmla="*/ 0 h 21374"/>
              <a:gd name="T11" fmla="*/ 10436 w 10436"/>
              <a:gd name="T12" fmla="*/ 21374 h 213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436" h="21374" fill="none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</a:path>
              <a:path w="10436" h="21374" stroke="0" extrusionOk="0">
                <a:moveTo>
                  <a:pt x="3119" y="0"/>
                </a:moveTo>
                <a:cubicBezTo>
                  <a:pt x="5686" y="375"/>
                  <a:pt x="8164" y="1209"/>
                  <a:pt x="10435" y="2462"/>
                </a:cubicBezTo>
                <a:lnTo>
                  <a:pt x="0" y="21374"/>
                </a:lnTo>
                <a:lnTo>
                  <a:pt x="3119" y="0"/>
                </a:lnTo>
                <a:close/>
              </a:path>
            </a:pathLst>
          </a:custGeom>
          <a:noFill/>
          <a:ln w="34290">
            <a:solidFill>
              <a:srgbClr val="D2E0E6"/>
            </a:solidFill>
            <a:prstDash val="sysDot"/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42" name="Oval 238"/>
          <p:cNvSpPr>
            <a:spLocks noChangeArrowheads="1"/>
          </p:cNvSpPr>
          <p:nvPr/>
        </p:nvSpPr>
        <p:spPr bwMode="gray">
          <a:xfrm>
            <a:off x="787400" y="5310188"/>
            <a:ext cx="2513013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tabLst>
                <a:tab pos="246063" algn="l"/>
              </a:tabLst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tabLst>
                <a:tab pos="246063" algn="l"/>
              </a:tabLst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tabLst>
                <a:tab pos="246063" algn="l"/>
              </a:tabLst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460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9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	= Europe related</a:t>
            </a:r>
            <a:r>
              <a:rPr lang="en-US" altLang="zh-HK" sz="900" baseline="300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1</a:t>
            </a:r>
            <a:r>
              <a:rPr lang="en-US" altLang="zh-HK" sz="900" smtClean="0">
                <a:solidFill>
                  <a:srgbClr val="000000"/>
                </a:solidFill>
                <a:latin typeface="Constantia" pitchFamily="18" charset="0"/>
                <a:ea typeface="PMingLiU" pitchFamily="18" charset="-120"/>
                <a:cs typeface="+mn-cs"/>
              </a:rPr>
              <a:t> </a:t>
            </a:r>
          </a:p>
        </p:txBody>
      </p:sp>
      <p:sp>
        <p:nvSpPr>
          <p:cNvPr id="8443" name="Oval 228"/>
          <p:cNvSpPr>
            <a:spLocks noChangeArrowheads="1"/>
          </p:cNvSpPr>
          <p:nvPr/>
        </p:nvSpPr>
        <p:spPr bwMode="gray">
          <a:xfrm>
            <a:off x="765175" y="5091113"/>
            <a:ext cx="141288" cy="122237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 type="none" w="lg" len="lg"/>
            <a:tailEnd type="none" w="lg" len="lg"/>
          </a:ln>
        </p:spPr>
        <p:txBody>
          <a:bodyPr lIns="84853" tIns="42427" rIns="84853" bIns="42427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44" name="Oval 261"/>
          <p:cNvSpPr>
            <a:spLocks noChangeArrowheads="1"/>
          </p:cNvSpPr>
          <p:nvPr/>
        </p:nvSpPr>
        <p:spPr bwMode="gray">
          <a:xfrm>
            <a:off x="5651500" y="3043238"/>
            <a:ext cx="336550" cy="357187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7925" tIns="38963" rIns="77925" bIns="38963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45" name="Rectangle 329"/>
          <p:cNvSpPr>
            <a:spLocks noChangeArrowheads="1"/>
          </p:cNvSpPr>
          <p:nvPr/>
        </p:nvSpPr>
        <p:spPr bwMode="gray">
          <a:xfrm>
            <a:off x="5710238" y="3116263"/>
            <a:ext cx="1936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4.5</a:t>
            </a:r>
          </a:p>
        </p:txBody>
      </p:sp>
      <p:sp>
        <p:nvSpPr>
          <p:cNvPr id="8446" name="Arc 300"/>
          <p:cNvSpPr>
            <a:spLocks/>
          </p:cNvSpPr>
          <p:nvPr/>
        </p:nvSpPr>
        <p:spPr bwMode="gray">
          <a:xfrm rot="10472169">
            <a:off x="4646613" y="2344738"/>
            <a:ext cx="2049462" cy="1800225"/>
          </a:xfrm>
          <a:custGeom>
            <a:avLst/>
            <a:gdLst>
              <a:gd name="T0" fmla="*/ 2147483647 w 19317"/>
              <a:gd name="T1" fmla="*/ 0 h 21597"/>
              <a:gd name="T2" fmla="*/ 2147483647 w 19317"/>
              <a:gd name="T3" fmla="*/ 2147483647 h 21597"/>
              <a:gd name="T4" fmla="*/ 0 w 19317"/>
              <a:gd name="T5" fmla="*/ 2147483647 h 21597"/>
              <a:gd name="T6" fmla="*/ 0 60000 65536"/>
              <a:gd name="T7" fmla="*/ 0 60000 65536"/>
              <a:gd name="T8" fmla="*/ 0 60000 65536"/>
              <a:gd name="T9" fmla="*/ 0 w 19317"/>
              <a:gd name="T10" fmla="*/ 0 h 21597"/>
              <a:gd name="T11" fmla="*/ 19317 w 19317"/>
              <a:gd name="T12" fmla="*/ 21597 h 2159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317" h="21597" fill="none" extrusionOk="0">
                <a:moveTo>
                  <a:pt x="361" y="0"/>
                </a:moveTo>
                <a:cubicBezTo>
                  <a:pt x="8409" y="134"/>
                  <a:pt x="15715" y="4733"/>
                  <a:pt x="19317" y="11931"/>
                </a:cubicBezTo>
              </a:path>
              <a:path w="19317" h="21597" stroke="0" extrusionOk="0">
                <a:moveTo>
                  <a:pt x="361" y="0"/>
                </a:moveTo>
                <a:cubicBezTo>
                  <a:pt x="8409" y="134"/>
                  <a:pt x="15715" y="4733"/>
                  <a:pt x="19317" y="11931"/>
                </a:cubicBezTo>
                <a:lnTo>
                  <a:pt x="0" y="21597"/>
                </a:lnTo>
                <a:lnTo>
                  <a:pt x="361" y="0"/>
                </a:lnTo>
                <a:close/>
              </a:path>
            </a:pathLst>
          </a:custGeom>
          <a:noFill/>
          <a:ln w="38100">
            <a:solidFill>
              <a:srgbClr val="FF0000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77920" tIns="77920" rIns="77920" bIns="77920" anchor="ctr"/>
          <a:lstStyle/>
          <a:p>
            <a:endParaRPr lang="en-IE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447" name="Oval 244"/>
          <p:cNvSpPr>
            <a:spLocks noChangeArrowheads="1"/>
          </p:cNvSpPr>
          <p:nvPr/>
        </p:nvSpPr>
        <p:spPr bwMode="gray">
          <a:xfrm>
            <a:off x="5646738" y="3671888"/>
            <a:ext cx="571500" cy="608012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3173D"/>
            </a:solidFill>
            <a:round/>
            <a:headEnd/>
            <a:tailEnd/>
          </a:ln>
        </p:spPr>
        <p:txBody>
          <a:bodyPr lIns="71558" tIns="35780" rIns="71558" bIns="35780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83173D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48" name="Rectangle 331"/>
          <p:cNvSpPr>
            <a:spLocks noChangeArrowheads="1"/>
          </p:cNvSpPr>
          <p:nvPr/>
        </p:nvSpPr>
        <p:spPr bwMode="gray">
          <a:xfrm>
            <a:off x="5840413" y="3781425"/>
            <a:ext cx="1571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6</a:t>
            </a:r>
          </a:p>
        </p:txBody>
      </p:sp>
      <p:sp>
        <p:nvSpPr>
          <p:cNvPr id="8449" name="Text Box 200"/>
          <p:cNvSpPr txBox="1">
            <a:spLocks noChangeArrowheads="1"/>
          </p:cNvSpPr>
          <p:nvPr/>
        </p:nvSpPr>
        <p:spPr bwMode="auto">
          <a:xfrm>
            <a:off x="4073525" y="2900363"/>
            <a:ext cx="61753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77920" tIns="77920" rIns="77920" bIns="7792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4.7%)</a:t>
            </a:r>
          </a:p>
        </p:txBody>
      </p:sp>
      <p:sp>
        <p:nvSpPr>
          <p:cNvPr id="8450" name="Text Box 215"/>
          <p:cNvSpPr txBox="1">
            <a:spLocks noChangeArrowheads="1"/>
          </p:cNvSpPr>
          <p:nvPr/>
        </p:nvSpPr>
        <p:spPr bwMode="auto">
          <a:xfrm>
            <a:off x="5670550" y="3975100"/>
            <a:ext cx="536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4.0%)</a:t>
            </a:r>
            <a:endParaRPr lang="en-US" altLang="en-US" sz="1200" baseline="300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51" name="Oval 254"/>
          <p:cNvSpPr>
            <a:spLocks noChangeArrowheads="1"/>
          </p:cNvSpPr>
          <p:nvPr/>
        </p:nvSpPr>
        <p:spPr bwMode="gray">
          <a:xfrm>
            <a:off x="4908550" y="3705225"/>
            <a:ext cx="571500" cy="608013"/>
          </a:xfrm>
          <a:prstGeom prst="ellipse">
            <a:avLst/>
          </a:prstGeom>
          <a:solidFill>
            <a:srgbClr val="EEA632"/>
          </a:solidFill>
          <a:ln w="9525" algn="ctr">
            <a:solidFill>
              <a:srgbClr val="EEA632"/>
            </a:solidFill>
            <a:round/>
            <a:headEnd/>
            <a:tailEnd/>
          </a:ln>
        </p:spPr>
        <p:txBody>
          <a:bodyPr lIns="71558" tIns="35780" rIns="71558" bIns="35780" anchor="ctr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52" name="Rectangle 331"/>
          <p:cNvSpPr>
            <a:spLocks noChangeArrowheads="1"/>
          </p:cNvSpPr>
          <p:nvPr/>
        </p:nvSpPr>
        <p:spPr bwMode="gray">
          <a:xfrm>
            <a:off x="5099050" y="3797300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HK" sz="1200" smtClean="0">
                <a:solidFill>
                  <a:srgbClr val="FFFFFF"/>
                </a:solidFill>
                <a:latin typeface="Constantia" pitchFamily="18" charset="0"/>
                <a:ea typeface="PMingLiU" pitchFamily="18" charset="-120"/>
                <a:cs typeface="+mn-cs"/>
              </a:rPr>
              <a:t>26</a:t>
            </a:r>
          </a:p>
        </p:txBody>
      </p:sp>
      <p:sp>
        <p:nvSpPr>
          <p:cNvPr id="8453" name="Text Box 199"/>
          <p:cNvSpPr txBox="1">
            <a:spLocks noChangeArrowheads="1"/>
          </p:cNvSpPr>
          <p:nvPr/>
        </p:nvSpPr>
        <p:spPr bwMode="auto">
          <a:xfrm>
            <a:off x="4940300" y="3971925"/>
            <a:ext cx="652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smtClean="0">
                <a:solidFill>
                  <a:srgbClr val="FFFFFF"/>
                </a:solidFill>
                <a:latin typeface="Constantia" pitchFamily="18" charset="0"/>
                <a:cs typeface="+mn-cs"/>
              </a:rPr>
              <a:t>(10.6%)</a:t>
            </a:r>
            <a:endParaRPr lang="en-US" altLang="en-US" sz="1200" baseline="30000" smtClean="0">
              <a:solidFill>
                <a:srgbClr val="FFFFFF"/>
              </a:solidFill>
              <a:latin typeface="Constantia" pitchFamily="18" charset="0"/>
              <a:cs typeface="+mn-cs"/>
            </a:endParaRPr>
          </a:p>
        </p:txBody>
      </p:sp>
      <p:sp>
        <p:nvSpPr>
          <p:cNvPr id="8454" name="TextBox 1"/>
          <p:cNvSpPr txBox="1">
            <a:spLocks noChangeArrowheads="1"/>
          </p:cNvSpPr>
          <p:nvPr/>
        </p:nvSpPr>
        <p:spPr bwMode="auto">
          <a:xfrm>
            <a:off x="6448425" y="5426075"/>
            <a:ext cx="2305050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 smtClean="0">
                <a:solidFill>
                  <a:srgbClr val="000000"/>
                </a:solidFill>
                <a:latin typeface="Constantia" pitchFamily="18" charset="0"/>
                <a:cs typeface="+mn-cs"/>
              </a:rPr>
              <a:t>Source: BCG container flow forecast model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000" smtClean="0">
              <a:solidFill>
                <a:srgbClr val="000000"/>
              </a:solidFill>
              <a:latin typeface="Constantia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4579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1"/>
          <p:cNvSpPr>
            <a:spLocks noChangeArrowheads="1"/>
          </p:cNvSpPr>
          <p:nvPr/>
        </p:nvSpPr>
        <p:spPr bwMode="auto">
          <a:xfrm>
            <a:off x="468313" y="4724400"/>
            <a:ext cx="7848600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tabLst>
                <a:tab pos="2517775" algn="l"/>
              </a:tabLst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tabLst>
                <a:tab pos="2517775" algn="l"/>
              </a:tabLst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tabLst>
                <a:tab pos="2517775" algn="l"/>
              </a:tabLst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tabLst>
                <a:tab pos="2517775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CCCC99"/>
              </a:buClr>
            </a:pPr>
            <a:r>
              <a:rPr lang="en-GB" altLang="en-US" sz="3200" smtClean="0">
                <a:solidFill>
                  <a:srgbClr val="6C0812"/>
                </a:solidFill>
                <a:cs typeface="+mn-cs"/>
              </a:rPr>
              <a:t>Education 	</a:t>
            </a: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Students - Seminaries</a:t>
            </a:r>
            <a:r>
              <a:rPr lang="en-GB" altLang="en-US" smtClean="0">
                <a:solidFill>
                  <a:srgbClr val="6C0812"/>
                </a:solidFill>
                <a:cs typeface="+mn-cs"/>
              </a:rPr>
              <a:t>	</a:t>
            </a:r>
            <a:endParaRPr lang="en-GB" altLang="en-US" sz="2000" smtClean="0">
              <a:solidFill>
                <a:srgbClr val="6C0812"/>
              </a:solidFill>
              <a:cs typeface="+mn-cs"/>
            </a:endParaRPr>
          </a:p>
          <a:p>
            <a:pPr eaLnBrk="1" hangingPunct="1">
              <a:lnSpc>
                <a:spcPct val="90000"/>
              </a:lnSpc>
              <a:buClr>
                <a:srgbClr val="CCCC99"/>
              </a:buClr>
            </a:pPr>
            <a:r>
              <a:rPr lang="en-GB" altLang="en-US" sz="3200" smtClean="0">
                <a:solidFill>
                  <a:srgbClr val="6C0812"/>
                </a:solidFill>
                <a:cs typeface="+mn-cs"/>
              </a:rPr>
              <a:t>Secretariat	</a:t>
            </a:r>
            <a:r>
              <a:rPr lang="en-GB" altLang="en-US" sz="2000" smtClean="0">
                <a:solidFill>
                  <a:srgbClr val="6C0812"/>
                </a:solidFill>
                <a:cs typeface="+mn-cs"/>
              </a:rPr>
              <a:t>Expand compatibly with financial resources</a:t>
            </a:r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188913"/>
            <a:ext cx="7696200" cy="2519362"/>
          </a:xfrm>
        </p:spPr>
        <p:txBody>
          <a:bodyPr/>
          <a:lstStyle/>
          <a:p>
            <a:pPr eaLnBrk="1" hangingPunct="1">
              <a:tabLst>
                <a:tab pos="7446963" algn="r"/>
              </a:tabLst>
            </a:pPr>
            <a:r>
              <a:rPr lang="en-GB" altLang="en-US" sz="2000" smtClean="0"/>
              <a:t/>
            </a:r>
            <a:br>
              <a:rPr lang="en-GB" altLang="en-US" sz="2000" smtClean="0"/>
            </a:br>
            <a:r>
              <a:rPr lang="en-GB" altLang="en-US" sz="2000" smtClean="0"/>
              <a:t>Ole Wikborg</a:t>
            </a:r>
            <a:r>
              <a:rPr lang="en-GB" altLang="en-US" smtClean="0"/>
              <a:t> 	</a:t>
            </a:r>
            <a:r>
              <a:rPr lang="en-GB" altLang="en-US" sz="2000" smtClean="0"/>
              <a:t>Dieter Berg</a:t>
            </a:r>
            <a:br>
              <a:rPr lang="en-GB" altLang="en-US" sz="2000" smtClean="0"/>
            </a:br>
            <a:r>
              <a:rPr lang="en-GB" altLang="en-US" smtClean="0"/>
              <a:t>IUMI Core Competences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3141663"/>
            <a:ext cx="8207375" cy="1728787"/>
          </a:xfrm>
        </p:spPr>
        <p:txBody>
          <a:bodyPr/>
          <a:lstStyle/>
          <a:p>
            <a:pPr eaLnBrk="1" hangingPunct="1">
              <a:lnSpc>
                <a:spcPct val="90000"/>
              </a:lnSpc>
              <a:tabLst>
                <a:tab pos="2517775" algn="l"/>
              </a:tabLst>
            </a:pPr>
            <a:r>
              <a:rPr lang="en-GB" altLang="en-US" sz="3200" smtClean="0">
                <a:solidFill>
                  <a:srgbClr val="6C0812"/>
                </a:solidFill>
              </a:rPr>
              <a:t>Visibility </a:t>
            </a:r>
            <a:r>
              <a:rPr lang="en-GB" altLang="en-US" smtClean="0">
                <a:solidFill>
                  <a:srgbClr val="6C0812"/>
                </a:solidFill>
              </a:rPr>
              <a:t>	</a:t>
            </a:r>
            <a:r>
              <a:rPr lang="en-GB" altLang="en-US" sz="2000" smtClean="0">
                <a:solidFill>
                  <a:srgbClr val="6C0812"/>
                </a:solidFill>
              </a:rPr>
              <a:t>Lobbying – Contacts with Affiliates – Political 	Forum – Salvage Forum - Contacts with IMO</a:t>
            </a:r>
          </a:p>
          <a:p>
            <a:pPr eaLnBrk="1" hangingPunct="1">
              <a:lnSpc>
                <a:spcPct val="90000"/>
              </a:lnSpc>
              <a:tabLst>
                <a:tab pos="2517775" algn="l"/>
              </a:tabLst>
            </a:pPr>
            <a:r>
              <a:rPr lang="en-GB" altLang="en-US" sz="3200" smtClean="0">
                <a:solidFill>
                  <a:srgbClr val="6C0812"/>
                </a:solidFill>
              </a:rPr>
              <a:t>Statistics	</a:t>
            </a:r>
            <a:r>
              <a:rPr lang="en-GB" altLang="en-US" sz="2000" smtClean="0">
                <a:solidFill>
                  <a:srgbClr val="6C0812"/>
                </a:solidFill>
              </a:rPr>
              <a:t>Increase and improve the source of information 	from Members</a:t>
            </a:r>
          </a:p>
        </p:txBody>
      </p:sp>
      <p:sp>
        <p:nvSpPr>
          <p:cNvPr id="9221" name="AutoShape 5" descr="Z"/>
          <p:cNvSpPr>
            <a:spLocks noChangeAspect="1" noChangeArrowheads="1"/>
          </p:cNvSpPr>
          <p:nvPr/>
        </p:nvSpPr>
        <p:spPr bwMode="auto">
          <a:xfrm>
            <a:off x="155575" y="46038"/>
            <a:ext cx="2743200" cy="396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IE" altLang="en-US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222" name="AutoShape 7" descr="Z"/>
          <p:cNvSpPr>
            <a:spLocks noChangeAspect="1" noChangeArrowheads="1"/>
          </p:cNvSpPr>
          <p:nvPr/>
        </p:nvSpPr>
        <p:spPr bwMode="auto">
          <a:xfrm>
            <a:off x="155575" y="460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IE" altLang="en-US" smtClean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9223" name="Picture 9" descr="ole-wikbor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88" y="260350"/>
            <a:ext cx="1098550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4" name="AutoShape 13" descr="2Q==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IE" altLang="en-US" smtClean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9225" name="Picture 15" descr="1455847_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6" r="26459" b="16068"/>
          <a:stretch>
            <a:fillRect/>
          </a:stretch>
        </p:blipFill>
        <p:spPr bwMode="auto">
          <a:xfrm>
            <a:off x="6877050" y="260350"/>
            <a:ext cx="1441450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6" name="AutoShape 16"/>
          <p:cNvSpPr>
            <a:spLocks noChangeArrowheads="1"/>
          </p:cNvSpPr>
          <p:nvPr/>
        </p:nvSpPr>
        <p:spPr bwMode="auto">
          <a:xfrm>
            <a:off x="2268538" y="333375"/>
            <a:ext cx="863600" cy="503238"/>
          </a:xfrm>
          <a:prstGeom prst="rightArrow">
            <a:avLst>
              <a:gd name="adj1" fmla="val 50000"/>
              <a:gd name="adj2" fmla="val 42902"/>
            </a:avLst>
          </a:prstGeom>
          <a:solidFill>
            <a:srgbClr val="FA300E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IE" altLang="en-US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227" name="AutoShape 17"/>
          <p:cNvSpPr>
            <a:spLocks noChangeArrowheads="1"/>
          </p:cNvSpPr>
          <p:nvPr/>
        </p:nvSpPr>
        <p:spPr bwMode="auto">
          <a:xfrm flipH="1">
            <a:off x="5795963" y="981075"/>
            <a:ext cx="863600" cy="503238"/>
          </a:xfrm>
          <a:prstGeom prst="rightArrow">
            <a:avLst>
              <a:gd name="adj1" fmla="val 50000"/>
              <a:gd name="adj2" fmla="val 42902"/>
            </a:avLst>
          </a:prstGeom>
          <a:solidFill>
            <a:srgbClr val="0AD88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IE" altLang="en-US" smtClean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283315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sz="2900" b="1" smtClean="0"/>
              <a:t>Global Marine Insurance Report 2014</a:t>
            </a:r>
            <a:br>
              <a:rPr lang="en-GB" altLang="en-US" sz="2900" b="1" smtClean="0"/>
            </a:br>
            <a:endParaRPr lang="en-GB" altLang="en-US" sz="2900" b="1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95513" y="1905000"/>
            <a:ext cx="6262687" cy="40386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b="1" smtClean="0">
                <a:solidFill>
                  <a:schemeClr val="folHlink"/>
                </a:solidFill>
              </a:rPr>
              <a:t>Patrizia Kern</a:t>
            </a:r>
            <a:br>
              <a:rPr lang="en-US" altLang="en-US" b="1" smtClean="0">
                <a:solidFill>
                  <a:schemeClr val="folHlink"/>
                </a:solidFill>
              </a:rPr>
            </a:br>
            <a:r>
              <a:rPr lang="en-US" altLang="en-US" sz="2000" smtClean="0">
                <a:solidFill>
                  <a:schemeClr val="folHlink"/>
                </a:solidFill>
              </a:rPr>
              <a:t>Chairman, Facts &amp; Figures Committee</a:t>
            </a:r>
            <a:r>
              <a:rPr lang="en-US" altLang="en-US" smtClean="0">
                <a:solidFill>
                  <a:schemeClr val="folHlink"/>
                </a:solidFill>
              </a:rPr>
              <a:t/>
            </a:r>
            <a:br>
              <a:rPr lang="en-US" altLang="en-US" smtClean="0">
                <a:solidFill>
                  <a:schemeClr val="folHlink"/>
                </a:solidFill>
              </a:rPr>
            </a:br>
            <a:r>
              <a:rPr lang="en-US" altLang="en-US" smtClean="0">
                <a:solidFill>
                  <a:schemeClr val="folHlink"/>
                </a:solidFill>
              </a:rPr>
              <a:t/>
            </a:r>
            <a:br>
              <a:rPr lang="en-US" altLang="en-US" smtClean="0">
                <a:solidFill>
                  <a:schemeClr val="folHlink"/>
                </a:solidFill>
              </a:rPr>
            </a:br>
            <a:r>
              <a:rPr lang="en-US" altLang="en-US" sz="2000" smtClean="0">
                <a:solidFill>
                  <a:schemeClr val="folHlink"/>
                </a:solidFill>
              </a:rPr>
              <a:t>Head Marine</a:t>
            </a:r>
            <a:br>
              <a:rPr lang="en-US" altLang="en-US" sz="2000" smtClean="0">
                <a:solidFill>
                  <a:schemeClr val="folHlink"/>
                </a:solidFill>
              </a:rPr>
            </a:br>
            <a:r>
              <a:rPr lang="en-US" altLang="en-US" sz="2000" smtClean="0">
                <a:solidFill>
                  <a:schemeClr val="folHlink"/>
                </a:solidFill>
              </a:rPr>
              <a:t>Swiss Re Corporate Solutions</a:t>
            </a:r>
          </a:p>
          <a:p>
            <a:pPr eaLnBrk="1" hangingPunct="1">
              <a:lnSpc>
                <a:spcPct val="80000"/>
              </a:lnSpc>
            </a:pPr>
            <a:endParaRPr lang="en-US" altLang="en-US" smtClean="0">
              <a:solidFill>
                <a:schemeClr val="folHlink"/>
              </a:solidFill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</a:pPr>
            <a:endParaRPr lang="en-US" altLang="en-US" b="1" smtClean="0">
              <a:solidFill>
                <a:schemeClr val="folHlink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altLang="en-US" b="1" smtClean="0">
                <a:solidFill>
                  <a:schemeClr val="folHlink"/>
                </a:solidFill>
              </a:rPr>
              <a:t>Astrid Seltmann</a:t>
            </a:r>
            <a:br>
              <a:rPr lang="en-US" altLang="en-US" b="1" smtClean="0">
                <a:solidFill>
                  <a:schemeClr val="folHlink"/>
                </a:solidFill>
              </a:rPr>
            </a:br>
            <a:r>
              <a:rPr lang="en-US" altLang="en-US" sz="2000" smtClean="0">
                <a:solidFill>
                  <a:schemeClr val="folHlink"/>
                </a:solidFill>
              </a:rPr>
              <a:t>Vice chairman, Facts &amp; Figures Committee</a:t>
            </a:r>
            <a:r>
              <a:rPr lang="en-US" altLang="en-US" smtClean="0">
                <a:solidFill>
                  <a:schemeClr val="folHlink"/>
                </a:solidFill>
              </a:rPr>
              <a:t/>
            </a:r>
            <a:br>
              <a:rPr lang="en-US" altLang="en-US" smtClean="0">
                <a:solidFill>
                  <a:schemeClr val="folHlink"/>
                </a:solidFill>
              </a:rPr>
            </a:br>
            <a:r>
              <a:rPr lang="en-US" altLang="en-US" smtClean="0">
                <a:solidFill>
                  <a:schemeClr val="folHlink"/>
                </a:solidFill>
              </a:rPr>
              <a:t/>
            </a:r>
            <a:br>
              <a:rPr lang="en-US" altLang="en-US" smtClean="0">
                <a:solidFill>
                  <a:schemeClr val="folHlink"/>
                </a:solidFill>
              </a:rPr>
            </a:br>
            <a:r>
              <a:rPr lang="en-US" altLang="en-US" sz="2000" smtClean="0">
                <a:solidFill>
                  <a:schemeClr val="folHlink"/>
                </a:solidFill>
              </a:rPr>
              <a:t>Analyst/Actuary @ Cefor</a:t>
            </a:r>
            <a:endParaRPr lang="en-GB" altLang="en-US" sz="2000" smtClean="0">
              <a:solidFill>
                <a:schemeClr val="folHlink"/>
              </a:solidFill>
            </a:endParaRPr>
          </a:p>
        </p:txBody>
      </p:sp>
      <p:pic>
        <p:nvPicPr>
          <p:cNvPr id="10244" name="Picture 6" descr="patrizia kern web n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916113"/>
            <a:ext cx="1428750" cy="178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8" descr="Astrid20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4076700"/>
            <a:ext cx="1430337" cy="183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45664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755650" y="476250"/>
            <a:ext cx="7986713" cy="911225"/>
          </a:xfrm>
        </p:spPr>
        <p:txBody>
          <a:bodyPr/>
          <a:lstStyle/>
          <a:p>
            <a:pPr eaLnBrk="1" hangingPunct="1"/>
            <a:r>
              <a:rPr lang="en-GB" altLang="en-US" sz="2900" smtClean="0"/>
              <a:t>Facts &amp; Figures</a:t>
            </a:r>
            <a:br>
              <a:rPr lang="en-GB" altLang="en-US" sz="2900" smtClean="0"/>
            </a:br>
            <a:r>
              <a:rPr lang="en-GB" altLang="en-US" sz="2900" smtClean="0"/>
              <a:t>Country data collection 2013 Premium</a:t>
            </a:r>
          </a:p>
        </p:txBody>
      </p:sp>
      <p:sp>
        <p:nvSpPr>
          <p:cNvPr id="3" name="Slide Number Placeholder 2"/>
          <p:cNvSpPr txBox="1">
            <a:spLocks noGrp="1"/>
          </p:cNvSpPr>
          <p:nvPr/>
        </p:nvSpPr>
        <p:spPr>
          <a:xfrm>
            <a:off x="7924800" y="6356350"/>
            <a:ext cx="762000" cy="365125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75D527F-281D-49E4-9BBA-70F981CC4D0E}" type="slidenum">
              <a:rPr lang="en-GB" sz="1200">
                <a:solidFill>
                  <a:srgbClr val="336666">
                    <a:shade val="90000"/>
                  </a:srgbClr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GB" sz="1200">
              <a:solidFill>
                <a:srgbClr val="336666">
                  <a:shade val="9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1268" name="Title Placeholder 1"/>
          <p:cNvSpPr txBox="1">
            <a:spLocks/>
          </p:cNvSpPr>
          <p:nvPr/>
        </p:nvSpPr>
        <p:spPr bwMode="auto">
          <a:xfrm>
            <a:off x="441325" y="917575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en-US" sz="3700" smtClean="0">
              <a:solidFill>
                <a:srgbClr val="336666"/>
              </a:solidFill>
              <a:latin typeface="Calibri" pitchFamily="34" charset="0"/>
              <a:cs typeface="+mn-cs"/>
            </a:endParaRPr>
          </a:p>
        </p:txBody>
      </p:sp>
      <p:pic>
        <p:nvPicPr>
          <p:cNvPr id="1126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844675"/>
            <a:ext cx="6029325" cy="411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0" name="TextBox 4"/>
          <p:cNvSpPr txBox="1">
            <a:spLocks noChangeArrowheads="1"/>
          </p:cNvSpPr>
          <p:nvPr/>
        </p:nvSpPr>
        <p:spPr bwMode="auto">
          <a:xfrm>
            <a:off x="5940425" y="3213100"/>
            <a:ext cx="3203575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70000"/>
              <a:buFont typeface="Wingdings" pitchFamily="2" charset="2"/>
              <a:buChar char="l"/>
              <a:defRPr sz="3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150000"/>
              <a:buChar char="•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150000"/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5000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1800" b="1" smtClean="0">
                <a:solidFill>
                  <a:srgbClr val="336666"/>
                </a:solidFill>
                <a:cs typeface="+mn-cs"/>
              </a:rPr>
              <a:t>Premium volume of all countries covered in 2013: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1800" b="1" smtClean="0">
                <a:solidFill>
                  <a:srgbClr val="336666"/>
                </a:solidFill>
                <a:cs typeface="+mn-cs"/>
              </a:rPr>
              <a:t>34.2 billion USD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GB" altLang="en-US" sz="1800" smtClean="0">
              <a:solidFill>
                <a:srgbClr val="336666"/>
              </a:solidFill>
              <a:latin typeface="Constantia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1531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BM57XEaEKfI18a_wWR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0CHOceTEqoRdWF5XwH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kQHRGb80ukgtwPCq2D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m1pJ_lPEaDc3LtBSC5Ig"/>
</p:tagLst>
</file>

<file path=ppt/theme/theme1.xml><?xml version="1.0" encoding="utf-8"?>
<a:theme xmlns:a="http://schemas.openxmlformats.org/drawingml/2006/main" name="Studio">
  <a:themeElements>
    <a:clrScheme name="Studio 1">
      <a:dk1>
        <a:srgbClr val="000000"/>
      </a:dk1>
      <a:lt1>
        <a:srgbClr val="FFFFFF"/>
      </a:lt1>
      <a:dk2>
        <a:srgbClr val="336666"/>
      </a:dk2>
      <a:lt2>
        <a:srgbClr val="CCCC99"/>
      </a:lt2>
      <a:accent1>
        <a:srgbClr val="97CDCC"/>
      </a:accent1>
      <a:accent2>
        <a:srgbClr val="D6E0E0"/>
      </a:accent2>
      <a:accent3>
        <a:srgbClr val="FFFFFF"/>
      </a:accent3>
      <a:accent4>
        <a:srgbClr val="000000"/>
      </a:accent4>
      <a:accent5>
        <a:srgbClr val="C9E3E2"/>
      </a:accent5>
      <a:accent6>
        <a:srgbClr val="C2CBCB"/>
      </a:accent6>
      <a:hlink>
        <a:srgbClr val="99CC00"/>
      </a:hlink>
      <a:folHlink>
        <a:srgbClr val="336666"/>
      </a:folHlink>
    </a:clrScheme>
    <a:fontScheme name="Studio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udio 1">
        <a:dk1>
          <a:srgbClr val="000000"/>
        </a:dk1>
        <a:lt1>
          <a:srgbClr val="FFFFFF"/>
        </a:lt1>
        <a:dk2>
          <a:srgbClr val="336666"/>
        </a:dk2>
        <a:lt2>
          <a:srgbClr val="CCCC99"/>
        </a:lt2>
        <a:accent1>
          <a:srgbClr val="97CDCC"/>
        </a:accent1>
        <a:accent2>
          <a:srgbClr val="D6E0E0"/>
        </a:accent2>
        <a:accent3>
          <a:srgbClr val="FFFFFF"/>
        </a:accent3>
        <a:accent4>
          <a:srgbClr val="000000"/>
        </a:accent4>
        <a:accent5>
          <a:srgbClr val="C9E3E2"/>
        </a:accent5>
        <a:accent6>
          <a:srgbClr val="C2CBCB"/>
        </a:accent6>
        <a:hlink>
          <a:srgbClr val="99CC00"/>
        </a:hlink>
        <a:folHlink>
          <a:srgbClr val="33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udio 2">
        <a:dk1>
          <a:srgbClr val="000000"/>
        </a:dk1>
        <a:lt1>
          <a:srgbClr val="FFFFFF"/>
        </a:lt1>
        <a:dk2>
          <a:srgbClr val="3732A0"/>
        </a:dk2>
        <a:lt2>
          <a:srgbClr val="666699"/>
        </a:lt2>
        <a:accent1>
          <a:srgbClr val="CCCCFF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008A8A"/>
        </a:accent6>
        <a:hlink>
          <a:srgbClr val="3366CC"/>
        </a:hlink>
        <a:folHlink>
          <a:srgbClr val="9094B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udio 3">
        <a:dk1>
          <a:srgbClr val="000000"/>
        </a:dk1>
        <a:lt1>
          <a:srgbClr val="FFFFFF"/>
        </a:lt1>
        <a:dk2>
          <a:srgbClr val="CD0505"/>
        </a:dk2>
        <a:lt2>
          <a:srgbClr val="5F5F5F"/>
        </a:lt2>
        <a:accent1>
          <a:srgbClr val="D2D5DE"/>
        </a:accent1>
        <a:accent2>
          <a:srgbClr val="D55757"/>
        </a:accent2>
        <a:accent3>
          <a:srgbClr val="FFFFFF"/>
        </a:accent3>
        <a:accent4>
          <a:srgbClr val="000000"/>
        </a:accent4>
        <a:accent5>
          <a:srgbClr val="E5E7EC"/>
        </a:accent5>
        <a:accent6>
          <a:srgbClr val="C14E4E"/>
        </a:accent6>
        <a:hlink>
          <a:srgbClr val="F42D1E"/>
        </a:hlink>
        <a:folHlink>
          <a:srgbClr val="7C84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udio 4">
        <a:dk1>
          <a:srgbClr val="000000"/>
        </a:dk1>
        <a:lt1>
          <a:srgbClr val="FFFFFF"/>
        </a:lt1>
        <a:dk2>
          <a:srgbClr val="551A07"/>
        </a:dk2>
        <a:lt2>
          <a:srgbClr val="CC3300"/>
        </a:lt2>
        <a:accent1>
          <a:srgbClr val="F4B400"/>
        </a:accent1>
        <a:accent2>
          <a:srgbClr val="993300"/>
        </a:accent2>
        <a:accent3>
          <a:srgbClr val="FFFFFF"/>
        </a:accent3>
        <a:accent4>
          <a:srgbClr val="000000"/>
        </a:accent4>
        <a:accent5>
          <a:srgbClr val="F8D6AA"/>
        </a:accent5>
        <a:accent6>
          <a:srgbClr val="8A2D00"/>
        </a:accent6>
        <a:hlink>
          <a:srgbClr val="FF33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udio 5">
        <a:dk1>
          <a:srgbClr val="000000"/>
        </a:dk1>
        <a:lt1>
          <a:srgbClr val="FFFFFF"/>
        </a:lt1>
        <a:dk2>
          <a:srgbClr val="FF0000"/>
        </a:dk2>
        <a:lt2>
          <a:srgbClr val="FFCC00"/>
        </a:lt2>
        <a:accent1>
          <a:srgbClr val="66CC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008A00"/>
        </a:accent6>
        <a:hlink>
          <a:srgbClr val="FF3300"/>
        </a:hlink>
        <a:folHlink>
          <a:srgbClr val="66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udio 6">
        <a:dk1>
          <a:srgbClr val="666633"/>
        </a:dk1>
        <a:lt1>
          <a:srgbClr val="FFFFFF"/>
        </a:lt1>
        <a:dk2>
          <a:srgbClr val="000000"/>
        </a:dk2>
        <a:lt2>
          <a:srgbClr val="CC3300"/>
        </a:lt2>
        <a:accent1>
          <a:srgbClr val="808000"/>
        </a:accent1>
        <a:accent2>
          <a:srgbClr val="FF9900"/>
        </a:accent2>
        <a:accent3>
          <a:srgbClr val="AAAAAA"/>
        </a:accent3>
        <a:accent4>
          <a:srgbClr val="DADADA"/>
        </a:accent4>
        <a:accent5>
          <a:srgbClr val="C0C0AA"/>
        </a:accent5>
        <a:accent6>
          <a:srgbClr val="E78A00"/>
        </a:accent6>
        <a:hlink>
          <a:srgbClr val="CC6600"/>
        </a:hlink>
        <a:folHlink>
          <a:srgbClr val="434B1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udio 7">
        <a:dk1>
          <a:srgbClr val="766997"/>
        </a:dk1>
        <a:lt1>
          <a:srgbClr val="FFFFFF"/>
        </a:lt1>
        <a:dk2>
          <a:srgbClr val="530901"/>
        </a:dk2>
        <a:lt2>
          <a:srgbClr val="FFFFFF"/>
        </a:lt2>
        <a:accent1>
          <a:srgbClr val="FF3300"/>
        </a:accent1>
        <a:accent2>
          <a:srgbClr val="CC6600"/>
        </a:accent2>
        <a:accent3>
          <a:srgbClr val="B3AAAA"/>
        </a:accent3>
        <a:accent4>
          <a:srgbClr val="DADADA"/>
        </a:accent4>
        <a:accent5>
          <a:srgbClr val="FFADAA"/>
        </a:accent5>
        <a:accent6>
          <a:srgbClr val="B95C00"/>
        </a:accent6>
        <a:hlink>
          <a:srgbClr val="FF9900"/>
        </a:hlink>
        <a:folHlink>
          <a:srgbClr val="9933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udio 8">
        <a:dk1>
          <a:srgbClr val="666699"/>
        </a:dk1>
        <a:lt1>
          <a:srgbClr val="FFFFFF"/>
        </a:lt1>
        <a:dk2>
          <a:srgbClr val="4C004C"/>
        </a:dk2>
        <a:lt2>
          <a:srgbClr val="FFFFFF"/>
        </a:lt2>
        <a:accent1>
          <a:srgbClr val="0099CC"/>
        </a:accent1>
        <a:accent2>
          <a:srgbClr val="993366"/>
        </a:accent2>
        <a:accent3>
          <a:srgbClr val="B2AAB2"/>
        </a:accent3>
        <a:accent4>
          <a:srgbClr val="DADADA"/>
        </a:accent4>
        <a:accent5>
          <a:srgbClr val="AACAE2"/>
        </a:accent5>
        <a:accent6>
          <a:srgbClr val="8A2D5C"/>
        </a:accent6>
        <a:hlink>
          <a:srgbClr val="99CC00"/>
        </a:hlink>
        <a:folHlink>
          <a:srgbClr val="00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udio 9">
        <a:dk1>
          <a:srgbClr val="565682"/>
        </a:dk1>
        <a:lt1>
          <a:srgbClr val="FFFFFF"/>
        </a:lt1>
        <a:dk2>
          <a:srgbClr val="1E1551"/>
        </a:dk2>
        <a:lt2>
          <a:srgbClr val="CCFFFF"/>
        </a:lt2>
        <a:accent1>
          <a:srgbClr val="33CCCC"/>
        </a:accent1>
        <a:accent2>
          <a:srgbClr val="009999"/>
        </a:accent2>
        <a:accent3>
          <a:srgbClr val="ABAAB3"/>
        </a:accent3>
        <a:accent4>
          <a:srgbClr val="DADADA"/>
        </a:accent4>
        <a:accent5>
          <a:srgbClr val="ADE2E2"/>
        </a:accent5>
        <a:accent6>
          <a:srgbClr val="008A8A"/>
        </a:accent6>
        <a:hlink>
          <a:srgbClr val="FF9900"/>
        </a:hlink>
        <a:folHlink>
          <a:srgbClr val="00598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udio 10">
        <a:dk1>
          <a:srgbClr val="CCCC99"/>
        </a:dk1>
        <a:lt1>
          <a:srgbClr val="FFFFFF"/>
        </a:lt1>
        <a:dk2>
          <a:srgbClr val="2E5D5C"/>
        </a:dk2>
        <a:lt2>
          <a:srgbClr val="FFFFFF"/>
        </a:lt2>
        <a:accent1>
          <a:srgbClr val="0099CC"/>
        </a:accent1>
        <a:accent2>
          <a:srgbClr val="D6E0E0"/>
        </a:accent2>
        <a:accent3>
          <a:srgbClr val="ADB6B5"/>
        </a:accent3>
        <a:accent4>
          <a:srgbClr val="DADADA"/>
        </a:accent4>
        <a:accent5>
          <a:srgbClr val="AACAE2"/>
        </a:accent5>
        <a:accent6>
          <a:srgbClr val="C2CBCB"/>
        </a:accent6>
        <a:hlink>
          <a:srgbClr val="CCCC99"/>
        </a:hlink>
        <a:folHlink>
          <a:srgbClr val="428A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3</TotalTime>
  <Words>742</Words>
  <Application>Microsoft Macintosh PowerPoint</Application>
  <PresentationFormat>Presentazione su schermo (4:3)</PresentationFormat>
  <Paragraphs>166</Paragraphs>
  <Slides>23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3</vt:i4>
      </vt:variant>
    </vt:vector>
  </HeadingPairs>
  <TitlesOfParts>
    <vt:vector size="24" baseType="lpstr">
      <vt:lpstr>Studio</vt:lpstr>
      <vt:lpstr>IUMI 2014 Hong Kong</vt:lpstr>
      <vt:lpstr>Opening Session</vt:lpstr>
      <vt:lpstr>Key statements</vt:lpstr>
      <vt:lpstr>Key Note Presentations</vt:lpstr>
      <vt:lpstr>Key Note Presentations</vt:lpstr>
      <vt:lpstr>...as Asia is expected to dominate global container flow in 2020..</vt:lpstr>
      <vt:lpstr> Ole Wikborg  Dieter Berg IUMI Core Competences</vt:lpstr>
      <vt:lpstr>Global Marine Insurance Report 2014 </vt:lpstr>
      <vt:lpstr>Facts &amp; Figures Country data collection 2013 Premium</vt:lpstr>
      <vt:lpstr>Marine Premium 2013 - by line of business</vt:lpstr>
      <vt:lpstr> Marine Premium 2013 – by region </vt:lpstr>
      <vt:lpstr>Presentazione di PowerPoint</vt:lpstr>
      <vt:lpstr>Hull Premium 2013 – by region</vt:lpstr>
      <vt:lpstr>Hull – Gross*  Ultimate Loss Ratio  Europe/USA**, Underwriting  years 1996 to 2013 </vt:lpstr>
      <vt:lpstr>Hull claims trends</vt:lpstr>
      <vt:lpstr>Hull portfolio trends</vt:lpstr>
      <vt:lpstr>Change in insured values on renewal</vt:lpstr>
      <vt:lpstr>Summing up Hull</vt:lpstr>
      <vt:lpstr>Cargo Premium 2013 - by region</vt:lpstr>
      <vt:lpstr>Cargo Premium /  World Trade Values &amp; Exports</vt:lpstr>
      <vt:lpstr>Cargo – Gross Ultimate Loss Ratio  Europe/USA, Underwriting  years 1996 to 2013 </vt:lpstr>
      <vt:lpstr>Summing up cargo</vt:lpstr>
      <vt:lpstr>Summing up Conferenc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onal Perils</dc:title>
  <dc:creator>Charlotte Warr</dc:creator>
  <cp:lastModifiedBy>Pernilla</cp:lastModifiedBy>
  <cp:revision>62</cp:revision>
  <dcterms:created xsi:type="dcterms:W3CDTF">2011-09-16T02:30:20Z</dcterms:created>
  <dcterms:modified xsi:type="dcterms:W3CDTF">2014-09-28T14:14:19Z</dcterms:modified>
</cp:coreProperties>
</file>